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1.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286" r:id="rId4"/>
    <p:sldMasterId id="2147485522" r:id="rId5"/>
  </p:sldMasterIdLst>
  <p:notesMasterIdLst>
    <p:notesMasterId r:id="rId33"/>
  </p:notesMasterIdLst>
  <p:handoutMasterIdLst>
    <p:handoutMasterId r:id="rId34"/>
  </p:handoutMasterIdLst>
  <p:sldIdLst>
    <p:sldId id="2134804999" r:id="rId6"/>
    <p:sldId id="2145705915" r:id="rId7"/>
    <p:sldId id="2145705953" r:id="rId8"/>
    <p:sldId id="2076137153" r:id="rId9"/>
    <p:sldId id="2147469831" r:id="rId10"/>
    <p:sldId id="2145705987" r:id="rId11"/>
    <p:sldId id="2076137939" r:id="rId12"/>
    <p:sldId id="2145705971" r:id="rId13"/>
    <p:sldId id="2145705972" r:id="rId14"/>
    <p:sldId id="2145705974" r:id="rId15"/>
    <p:sldId id="2076136473" r:id="rId16"/>
    <p:sldId id="2145705967" r:id="rId17"/>
    <p:sldId id="2145705968" r:id="rId18"/>
    <p:sldId id="2145705969" r:id="rId19"/>
    <p:sldId id="2145705966" r:id="rId20"/>
    <p:sldId id="2145705970" r:id="rId21"/>
    <p:sldId id="2145705973" r:id="rId22"/>
    <p:sldId id="2145705976" r:id="rId23"/>
    <p:sldId id="2145705986" r:id="rId24"/>
    <p:sldId id="2145705979" r:id="rId25"/>
    <p:sldId id="2145705984" r:id="rId26"/>
    <p:sldId id="2145705981" r:id="rId27"/>
    <p:sldId id="2145705980" r:id="rId28"/>
    <p:sldId id="2145705982" r:id="rId29"/>
    <p:sldId id="2145705983" r:id="rId30"/>
    <p:sldId id="2145705985" r:id="rId31"/>
    <p:sldId id="2145705908" r:id="rId32"/>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08" userDrawn="1">
          <p15:clr>
            <a:srgbClr val="F26B43"/>
          </p15:clr>
        </p15:guide>
        <p15:guide id="2" pos="2232" userDrawn="1">
          <p15:clr>
            <a:srgbClr val="A4A3A4"/>
          </p15:clr>
        </p15:guide>
        <p15:guide id="3" pos="600" userDrawn="1">
          <p15:clr>
            <a:srgbClr val="A4A3A4"/>
          </p15:clr>
        </p15:guide>
        <p15:guide id="4" orient="horz" pos="1104" userDrawn="1">
          <p15:clr>
            <a:srgbClr val="FBAE40"/>
          </p15:clr>
        </p15:guide>
        <p15:guide id="5" pos="720" userDrawn="1">
          <p15:clr>
            <a:srgbClr val="A4A3A4"/>
          </p15:clr>
        </p15:guide>
        <p15:guide id="6" pos="4752" userDrawn="1">
          <p15:clr>
            <a:srgbClr val="F26B43"/>
          </p15:clr>
        </p15:guide>
        <p15:guide id="7" pos="2986"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04A3432-A8F8-82AA-CB67-8C41B4FDF8EC}" name="Imtiaz A Siddiqui" initials="IS" userId="S::imsiddiq@microsoft.com::167f64e1-58b3-4a0a-a16a-f621489dde06" providerId="AD"/>
  <p188:author id="{221DDC6B-3C60-6CB1-71CF-841C27E65E73}" name="Saj Sasi" initials="SS" userId="Saj Sasi" providerId="None"/>
  <p188:author id="{A22CBECE-4BAD-4C13-6254-94286C3C54C6}" name="Erick Moore" initials="EM" userId="S::ermoor@microsoft.com::96a732b2-26bb-45da-b8ee-37851dfdb22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Taylor Rozek" initials="TR" lastIdx="106" clrIdx="7">
    <p:extLst>
      <p:ext uri="{19B8F6BF-5375-455C-9EA6-DF929625EA0E}">
        <p15:presenceInfo xmlns:p15="http://schemas.microsoft.com/office/powerpoint/2012/main" userId="S::taylorr@silverfoxprod.com::07d3a2ec-d343-419f-932b-51bf9a70720d" providerId="AD"/>
      </p:ext>
    </p:extLst>
  </p:cmAuthor>
  <p:cmAuthor id="1" name="Mary Feil-Jacobs" initials="MFJ" lastIdx="43" clrIdx="1"/>
  <p:cmAuthor id="8" name="David Griffith" initials="DG" lastIdx="55" clrIdx="8">
    <p:extLst>
      <p:ext uri="{19B8F6BF-5375-455C-9EA6-DF929625EA0E}">
        <p15:presenceInfo xmlns:p15="http://schemas.microsoft.com/office/powerpoint/2012/main" userId="David Griffith" providerId="None"/>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Auri Mathisen" initials="AM" lastIdx="72" clrIdx="9">
    <p:extLst>
      <p:ext uri="{19B8F6BF-5375-455C-9EA6-DF929625EA0E}">
        <p15:presenceInfo xmlns:p15="http://schemas.microsoft.com/office/powerpoint/2012/main" userId="S::aurim@silverfoxprod.com::4c9b294e-82c5-4bdf-bfad-2c244299700e"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10" name="Sven Aelterman" initials="SA" lastIdx="2" clrIdx="10">
    <p:extLst>
      <p:ext uri="{19B8F6BF-5375-455C-9EA6-DF929625EA0E}">
        <p15:presenceInfo xmlns:p15="http://schemas.microsoft.com/office/powerpoint/2012/main" userId="S::svaelter@microsoft.com::70d5b85c-84eb-4225-8251-cc727a3b8eef"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 id="5" name="Kaylee McAvoy" initials="KM" lastIdx="27" clrIdx="5">
    <p:extLst>
      <p:ext uri="{19B8F6BF-5375-455C-9EA6-DF929625EA0E}">
        <p15:presenceInfo xmlns:p15="http://schemas.microsoft.com/office/powerpoint/2012/main" userId="S::kayleem@silverfoxprod.com::9d14131b-82fd-4f53-9a25-2f09aef1df75" providerId="AD"/>
      </p:ext>
    </p:extLst>
  </p:cmAuthor>
  <p:cmAuthor id="6" name="Keelan Wood" initials="KW" lastIdx="1" clrIdx="6">
    <p:extLst>
      <p:ext uri="{19B8F6BF-5375-455C-9EA6-DF929625EA0E}">
        <p15:presenceInfo xmlns:p15="http://schemas.microsoft.com/office/powerpoint/2012/main" userId="S::keelanw@silverfoxprod.com::c865d753-192b-4fe2-820d-09533e3010e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50E6FF"/>
    <a:srgbClr val="737373"/>
    <a:srgbClr val="2F2F2F"/>
    <a:srgbClr val="F2F2F2"/>
    <a:srgbClr val="243A5E"/>
    <a:srgbClr val="868686"/>
    <a:srgbClr val="D83B01"/>
    <a:srgbClr val="6B2929"/>
    <a:srgbClr val="CFE5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3766" autoAdjust="0"/>
  </p:normalViewPr>
  <p:slideViewPr>
    <p:cSldViewPr snapToGrid="0">
      <p:cViewPr varScale="1">
        <p:scale>
          <a:sx n="110" d="100"/>
          <a:sy n="110" d="100"/>
        </p:scale>
        <p:origin x="2214" y="108"/>
      </p:cViewPr>
      <p:guideLst>
        <p:guide orient="horz" pos="1008"/>
        <p:guide pos="2232"/>
        <p:guide pos="600"/>
        <p:guide orient="horz" pos="1104"/>
        <p:guide pos="720"/>
        <p:guide pos="4752"/>
        <p:guide pos="2986"/>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21" Type="http://schemas.openxmlformats.org/officeDocument/2006/relationships/slide" Target="slides/slide16.xml"/><Relationship Id="rId34" Type="http://schemas.openxmlformats.org/officeDocument/2006/relationships/handoutMaster" Target="handoutMasters/handoutMaster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commentAuthors" Target="commen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ke Resnick (CE)" userId="51b8e854-3a57-45c2-a04f-8e191b9d2c15" providerId="ADAL" clId="{DFCAC535-F083-425F-A86D-9072B234BEDC}"/>
    <pc:docChg chg="modSld sldOrd">
      <pc:chgData name="Mike Resnick (CE)" userId="51b8e854-3a57-45c2-a04f-8e191b9d2c15" providerId="ADAL" clId="{DFCAC535-F083-425F-A86D-9072B234BEDC}" dt="2021-08-31T20:47:37.230" v="1"/>
      <pc:docMkLst>
        <pc:docMk/>
      </pc:docMkLst>
      <pc:sldChg chg="ord">
        <pc:chgData name="Mike Resnick (CE)" userId="51b8e854-3a57-45c2-a04f-8e191b9d2c15" providerId="ADAL" clId="{DFCAC535-F083-425F-A86D-9072B234BEDC}" dt="2021-08-31T20:47:37.230" v="1"/>
        <pc:sldMkLst>
          <pc:docMk/>
          <pc:sldMk cId="3308341552" sldId="2145705953"/>
        </pc:sldMkLst>
      </pc:sldChg>
    </pc:docChg>
  </pc:docChgLst>
  <pc:docChgLst>
    <pc:chgData name="Cody Rowe" userId="6208a3e9-fa2e-4d97-85f1-45aab1d5458d" providerId="ADAL" clId="{FB18215D-5D32-4622-9AD6-4EDC7DDFB4E2}"/>
    <pc:docChg chg="custSel addSld modSld">
      <pc:chgData name="Cody Rowe" userId="6208a3e9-fa2e-4d97-85f1-45aab1d5458d" providerId="ADAL" clId="{FB18215D-5D32-4622-9AD6-4EDC7DDFB4E2}" dt="2021-09-23T17:59:19.803" v="395" actId="20577"/>
      <pc:docMkLst>
        <pc:docMk/>
      </pc:docMkLst>
      <pc:sldChg chg="modNotesTx">
        <pc:chgData name="Cody Rowe" userId="6208a3e9-fa2e-4d97-85f1-45aab1d5458d" providerId="ADAL" clId="{FB18215D-5D32-4622-9AD6-4EDC7DDFB4E2}" dt="2021-09-23T14:27:28.185" v="0" actId="6549"/>
        <pc:sldMkLst>
          <pc:docMk/>
          <pc:sldMk cId="3308341552" sldId="2145705953"/>
        </pc:sldMkLst>
      </pc:sldChg>
      <pc:sldChg chg="modSp add mod">
        <pc:chgData name="Cody Rowe" userId="6208a3e9-fa2e-4d97-85f1-45aab1d5458d" providerId="ADAL" clId="{FB18215D-5D32-4622-9AD6-4EDC7DDFB4E2}" dt="2021-09-23T14:37:53.215" v="4" actId="20577"/>
        <pc:sldMkLst>
          <pc:docMk/>
          <pc:sldMk cId="62054550" sldId="2145705986"/>
        </pc:sldMkLst>
        <pc:spChg chg="mod">
          <ac:chgData name="Cody Rowe" userId="6208a3e9-fa2e-4d97-85f1-45aab1d5458d" providerId="ADAL" clId="{FB18215D-5D32-4622-9AD6-4EDC7DDFB4E2}" dt="2021-09-23T14:37:53.215" v="4" actId="20577"/>
          <ac:spMkLst>
            <pc:docMk/>
            <pc:sldMk cId="62054550" sldId="2145705986"/>
            <ac:spMk id="6" creationId="{DA82DD4E-DDB8-49CB-82D1-935E4AADC8F0}"/>
          </ac:spMkLst>
        </pc:spChg>
      </pc:sldChg>
      <pc:sldChg chg="addSp delSp modSp add mod">
        <pc:chgData name="Cody Rowe" userId="6208a3e9-fa2e-4d97-85f1-45aab1d5458d" providerId="ADAL" clId="{FB18215D-5D32-4622-9AD6-4EDC7DDFB4E2}" dt="2021-09-23T17:59:19.803" v="395" actId="20577"/>
        <pc:sldMkLst>
          <pc:docMk/>
          <pc:sldMk cId="83375380" sldId="2145705987"/>
        </pc:sldMkLst>
        <pc:spChg chg="add mod">
          <ac:chgData name="Cody Rowe" userId="6208a3e9-fa2e-4d97-85f1-45aab1d5458d" providerId="ADAL" clId="{FB18215D-5D32-4622-9AD6-4EDC7DDFB4E2}" dt="2021-09-23T17:59:19.803" v="395" actId="20577"/>
          <ac:spMkLst>
            <pc:docMk/>
            <pc:sldMk cId="83375380" sldId="2145705987"/>
            <ac:spMk id="4" creationId="{59384D06-2AD5-44D7-9287-03B706CFE2D7}"/>
          </ac:spMkLst>
        </pc:spChg>
        <pc:spChg chg="mod">
          <ac:chgData name="Cody Rowe" userId="6208a3e9-fa2e-4d97-85f1-45aab1d5458d" providerId="ADAL" clId="{FB18215D-5D32-4622-9AD6-4EDC7DDFB4E2}" dt="2021-09-23T17:37:37.276" v="385" actId="20577"/>
          <ac:spMkLst>
            <pc:docMk/>
            <pc:sldMk cId="83375380" sldId="2145705987"/>
            <ac:spMk id="6" creationId="{DA82DD4E-DDB8-49CB-82D1-935E4AADC8F0}"/>
          </ac:spMkLst>
        </pc:spChg>
        <pc:spChg chg="add del mod">
          <ac:chgData name="Cody Rowe" userId="6208a3e9-fa2e-4d97-85f1-45aab1d5458d" providerId="ADAL" clId="{FB18215D-5D32-4622-9AD6-4EDC7DDFB4E2}" dt="2021-09-23T17:36:34.080" v="368"/>
          <ac:spMkLst>
            <pc:docMk/>
            <pc:sldMk cId="83375380" sldId="2145705987"/>
            <ac:spMk id="7" creationId="{23A63447-269E-40C2-A2A0-BD1161F4C8CD}"/>
          </ac:spMkLst>
        </pc:spChg>
        <pc:spChg chg="del mod">
          <ac:chgData name="Cody Rowe" userId="6208a3e9-fa2e-4d97-85f1-45aab1d5458d" providerId="ADAL" clId="{FB18215D-5D32-4622-9AD6-4EDC7DDFB4E2}" dt="2021-09-23T17:33:16.918" v="29" actId="931"/>
          <ac:spMkLst>
            <pc:docMk/>
            <pc:sldMk cId="83375380" sldId="2145705987"/>
            <ac:spMk id="15" creationId="{1E566100-ADBB-4258-8EC3-23BBEEC9793D}"/>
          </ac:spMkLst>
        </pc:spChg>
        <pc:picChg chg="add del mod">
          <ac:chgData name="Cody Rowe" userId="6208a3e9-fa2e-4d97-85f1-45aab1d5458d" providerId="ADAL" clId="{FB18215D-5D32-4622-9AD6-4EDC7DDFB4E2}" dt="2021-09-23T17:36:32.202" v="367" actId="478"/>
          <ac:picMkLst>
            <pc:docMk/>
            <pc:sldMk cId="83375380" sldId="2145705987"/>
            <ac:picMk id="3" creationId="{08468BC1-7CF4-41F9-A8AE-8A2D3356B497}"/>
          </ac:picMkLst>
        </pc:picChg>
        <pc:picChg chg="add mod">
          <ac:chgData name="Cody Rowe" userId="6208a3e9-fa2e-4d97-85f1-45aab1d5458d" providerId="ADAL" clId="{FB18215D-5D32-4622-9AD6-4EDC7DDFB4E2}" dt="2021-09-23T17:36:57.963" v="375" actId="1076"/>
          <ac:picMkLst>
            <pc:docMk/>
            <pc:sldMk cId="83375380" sldId="2145705987"/>
            <ac:picMk id="9" creationId="{77B38B60-4E80-4386-B36F-5B38C67D88B7}"/>
          </ac:picMkLst>
        </pc:picChg>
      </pc:sldChg>
    </pc:docChg>
  </pc:docChgLst>
  <pc:docChgLst>
    <pc:chgData name="Imtiaz A Siddiqui" userId="S::imsiddiq@microsoft.com::167f64e1-58b3-4a0a-a16a-f621489dde06" providerId="AD" clId="Web-{4A5164FF-D228-03FF-6A31-C91B7731196B}"/>
    <pc:docChg chg="mod modSld">
      <pc:chgData name="Imtiaz A Siddiqui" userId="S::imsiddiq@microsoft.com::167f64e1-58b3-4a0a-a16a-f621489dde06" providerId="AD" clId="Web-{4A5164FF-D228-03FF-6A31-C91B7731196B}" dt="2021-09-14T18:20:34.179" v="61"/>
      <pc:docMkLst>
        <pc:docMk/>
      </pc:docMkLst>
      <pc:sldChg chg="modSp">
        <pc:chgData name="Imtiaz A Siddiqui" userId="S::imsiddiq@microsoft.com::167f64e1-58b3-4a0a-a16a-f621489dde06" providerId="AD" clId="Web-{4A5164FF-D228-03FF-6A31-C91B7731196B}" dt="2021-09-14T17:56:40.398" v="3"/>
        <pc:sldMkLst>
          <pc:docMk/>
          <pc:sldMk cId="2957638688" sldId="2076136473"/>
        </pc:sldMkLst>
        <pc:spChg chg="mod">
          <ac:chgData name="Imtiaz A Siddiqui" userId="S::imsiddiq@microsoft.com::167f64e1-58b3-4a0a-a16a-f621489dde06" providerId="AD" clId="Web-{4A5164FF-D228-03FF-6A31-C91B7731196B}" dt="2021-09-14T17:56:32.257" v="1"/>
          <ac:spMkLst>
            <pc:docMk/>
            <pc:sldMk cId="2957638688" sldId="2076136473"/>
            <ac:spMk id="243" creationId="{CE4E100D-6B15-44B6-8848-97E77D07BB1C}"/>
          </ac:spMkLst>
        </pc:spChg>
        <pc:spChg chg="mod">
          <ac:chgData name="Imtiaz A Siddiqui" userId="S::imsiddiq@microsoft.com::167f64e1-58b3-4a0a-a16a-f621489dde06" providerId="AD" clId="Web-{4A5164FF-D228-03FF-6A31-C91B7731196B}" dt="2021-09-14T17:56:40.398" v="3"/>
          <ac:spMkLst>
            <pc:docMk/>
            <pc:sldMk cId="2957638688" sldId="2076136473"/>
            <ac:spMk id="272" creationId="{03826BE1-E099-4F76-8F6E-DC262F0D3C16}"/>
          </ac:spMkLst>
        </pc:spChg>
      </pc:sldChg>
      <pc:sldChg chg="modSp">
        <pc:chgData name="Imtiaz A Siddiqui" userId="S::imsiddiq@microsoft.com::167f64e1-58b3-4a0a-a16a-f621489dde06" providerId="AD" clId="Web-{4A5164FF-D228-03FF-6A31-C91B7731196B}" dt="2021-09-14T18:00:10.943" v="5"/>
        <pc:sldMkLst>
          <pc:docMk/>
          <pc:sldMk cId="3079443981" sldId="2145705928"/>
        </pc:sldMkLst>
        <pc:spChg chg="mod">
          <ac:chgData name="Imtiaz A Siddiqui" userId="S::imsiddiq@microsoft.com::167f64e1-58b3-4a0a-a16a-f621489dde06" providerId="AD" clId="Web-{4A5164FF-D228-03FF-6A31-C91B7731196B}" dt="2021-09-14T18:00:10.943" v="5"/>
          <ac:spMkLst>
            <pc:docMk/>
            <pc:sldMk cId="3079443981" sldId="2145705928"/>
            <ac:spMk id="243" creationId="{CE4E100D-6B15-44B6-8848-97E77D07BB1C}"/>
          </ac:spMkLst>
        </pc:spChg>
      </pc:sldChg>
      <pc:sldChg chg="modSp">
        <pc:chgData name="Imtiaz A Siddiqui" userId="S::imsiddiq@microsoft.com::167f64e1-58b3-4a0a-a16a-f621489dde06" providerId="AD" clId="Web-{4A5164FF-D228-03FF-6A31-C91B7731196B}" dt="2021-09-14T17:57:29.464" v="4"/>
        <pc:sldMkLst>
          <pc:docMk/>
          <pc:sldMk cId="48680643" sldId="2145705929"/>
        </pc:sldMkLst>
        <pc:spChg chg="mod">
          <ac:chgData name="Imtiaz A Siddiqui" userId="S::imsiddiq@microsoft.com::167f64e1-58b3-4a0a-a16a-f621489dde06" providerId="AD" clId="Web-{4A5164FF-D228-03FF-6A31-C91B7731196B}" dt="2021-09-14T17:57:29.464" v="4"/>
          <ac:spMkLst>
            <pc:docMk/>
            <pc:sldMk cId="48680643" sldId="2145705929"/>
            <ac:spMk id="243" creationId="{CE4E100D-6B15-44B6-8848-97E77D07BB1C}"/>
          </ac:spMkLst>
        </pc:spChg>
      </pc:sldChg>
      <pc:sldChg chg="addCm modCm modNotes">
        <pc:chgData name="Imtiaz A Siddiqui" userId="S::imsiddiq@microsoft.com::167f64e1-58b3-4a0a-a16a-f621489dde06" providerId="AD" clId="Web-{4A5164FF-D228-03FF-6A31-C91B7731196B}" dt="2021-09-14T18:11:30.144" v="45"/>
        <pc:sldMkLst>
          <pc:docMk/>
          <pc:sldMk cId="3361212018" sldId="2145705936"/>
        </pc:sldMkLst>
      </pc:sldChg>
      <pc:sldChg chg="addCm modNotes">
        <pc:chgData name="Imtiaz A Siddiqui" userId="S::imsiddiq@microsoft.com::167f64e1-58b3-4a0a-a16a-f621489dde06" providerId="AD" clId="Web-{4A5164FF-D228-03FF-6A31-C91B7731196B}" dt="2021-09-14T18:20:34.179" v="61"/>
        <pc:sldMkLst>
          <pc:docMk/>
          <pc:sldMk cId="258342502" sldId="2145705943"/>
        </pc:sldMkLst>
      </pc:sldChg>
    </pc:docChg>
  </pc:docChgLst>
  <pc:docChgLst>
    <pc:chgData name="Erick Moore" userId="S::ermoor@microsoft.com::96a732b2-26bb-45da-b8ee-37851dfdb22e" providerId="AD" clId="Web-{911317B9-DFDF-6AC8-1510-F2CD2B4361B5}"/>
    <pc:docChg chg="modSld">
      <pc:chgData name="Erick Moore" userId="S::ermoor@microsoft.com::96a732b2-26bb-45da-b8ee-37851dfdb22e" providerId="AD" clId="Web-{911317B9-DFDF-6AC8-1510-F2CD2B4361B5}" dt="2021-09-14T14:41:23.178" v="7"/>
      <pc:docMkLst>
        <pc:docMk/>
      </pc:docMkLst>
      <pc:sldChg chg="modCm modNotes">
        <pc:chgData name="Erick Moore" userId="S::ermoor@microsoft.com::96a732b2-26bb-45da-b8ee-37851dfdb22e" providerId="AD" clId="Web-{911317B9-DFDF-6AC8-1510-F2CD2B4361B5}" dt="2021-09-14T14:41:23.178" v="7"/>
        <pc:sldMkLst>
          <pc:docMk/>
          <pc:sldMk cId="3658315723" sldId="4354"/>
        </pc:sldMkLst>
      </pc:sldChg>
    </pc:docChg>
  </pc:docChgLst>
  <pc:docChgLst>
    <pc:chgData name="Erick Moore" userId="S::ermoor@microsoft.com::96a732b2-26bb-45da-b8ee-37851dfdb22e" providerId="AD" clId="Web-{F0142A5D-FC20-DE7A-1946-3D64ED391956}"/>
    <pc:docChg chg="mod">
      <pc:chgData name="Erick Moore" userId="S::ermoor@microsoft.com::96a732b2-26bb-45da-b8ee-37851dfdb22e" providerId="AD" clId="Web-{F0142A5D-FC20-DE7A-1946-3D64ED391956}" dt="2021-09-14T13:03:29.508" v="1"/>
      <pc:docMkLst>
        <pc:docMk/>
      </pc:docMkLst>
      <pc:sldChg chg="modCm">
        <pc:chgData name="Erick Moore" userId="S::ermoor@microsoft.com::96a732b2-26bb-45da-b8ee-37851dfdb22e" providerId="AD" clId="Web-{F0142A5D-FC20-DE7A-1946-3D64ED391956}" dt="2021-09-14T13:03:29.508" v="1"/>
        <pc:sldMkLst>
          <pc:docMk/>
          <pc:sldMk cId="3079443981" sldId="2145705928"/>
        </pc:sldMkLst>
      </pc:sldChg>
    </pc:docChg>
  </pc:docChgLst>
  <pc:docChgLst>
    <pc:chgData name="Erick Moore" userId="96a732b2-26bb-45da-b8ee-37851dfdb22e" providerId="ADAL" clId="{421EFE58-C744-487C-8529-5E403829B24E}"/>
    <pc:docChg chg="undo custSel addSld delSld modSld sldOrd delMainMaster">
      <pc:chgData name="Erick Moore" userId="96a732b2-26bb-45da-b8ee-37851dfdb22e" providerId="ADAL" clId="{421EFE58-C744-487C-8529-5E403829B24E}" dt="2021-09-16T14:06:57.991" v="17637" actId="20577"/>
      <pc:docMkLst>
        <pc:docMk/>
      </pc:docMkLst>
      <pc:sldChg chg="modSp mod modAnim modNotesTx">
        <pc:chgData name="Erick Moore" userId="96a732b2-26bb-45da-b8ee-37851dfdb22e" providerId="ADAL" clId="{421EFE58-C744-487C-8529-5E403829B24E}" dt="2021-08-27T21:05:05.967" v="17149" actId="20577"/>
        <pc:sldMkLst>
          <pc:docMk/>
          <pc:sldMk cId="624349999" sldId="860"/>
        </pc:sldMkLst>
        <pc:spChg chg="mod">
          <ac:chgData name="Erick Moore" userId="96a732b2-26bb-45da-b8ee-37851dfdb22e" providerId="ADAL" clId="{421EFE58-C744-487C-8529-5E403829B24E}" dt="2021-08-23T18:46:12.930" v="5636" actId="14100"/>
          <ac:spMkLst>
            <pc:docMk/>
            <pc:sldMk cId="624349999" sldId="860"/>
            <ac:spMk id="8" creationId="{0575DA1D-F462-4BFC-9085-1A3F1103CAB1}"/>
          </ac:spMkLst>
        </pc:spChg>
        <pc:spChg chg="mod">
          <ac:chgData name="Erick Moore" userId="96a732b2-26bb-45da-b8ee-37851dfdb22e" providerId="ADAL" clId="{421EFE58-C744-487C-8529-5E403829B24E}" dt="2021-08-23T18:14:07.991" v="5578" actId="20577"/>
          <ac:spMkLst>
            <pc:docMk/>
            <pc:sldMk cId="624349999" sldId="860"/>
            <ac:spMk id="9" creationId="{5381D660-30F4-4456-8A19-788360AA3AEC}"/>
          </ac:spMkLst>
        </pc:spChg>
        <pc:graphicFrameChg chg="mod">
          <ac:chgData name="Erick Moore" userId="96a732b2-26bb-45da-b8ee-37851dfdb22e" providerId="ADAL" clId="{421EFE58-C744-487C-8529-5E403829B24E}" dt="2021-08-23T18:17:58.684" v="5606" actId="20577"/>
          <ac:graphicFrameMkLst>
            <pc:docMk/>
            <pc:sldMk cId="624349999" sldId="860"/>
            <ac:graphicFrameMk id="14" creationId="{A4F5DF57-E3C0-43B5-AFE5-5B8EF4EF1E2F}"/>
          </ac:graphicFrameMkLst>
        </pc:graphicFrameChg>
      </pc:sldChg>
      <pc:sldChg chg="delSp mod modNotesTx">
        <pc:chgData name="Erick Moore" userId="96a732b2-26bb-45da-b8ee-37851dfdb22e" providerId="ADAL" clId="{421EFE58-C744-487C-8529-5E403829B24E}" dt="2021-08-23T15:49:06.073" v="4623" actId="20577"/>
        <pc:sldMkLst>
          <pc:docMk/>
          <pc:sldMk cId="612280844" sldId="1890"/>
        </pc:sldMkLst>
        <pc:spChg chg="del">
          <ac:chgData name="Erick Moore" userId="96a732b2-26bb-45da-b8ee-37851dfdb22e" providerId="ADAL" clId="{421EFE58-C744-487C-8529-5E403829B24E}" dt="2021-08-23T14:44:20.859" v="4026" actId="478"/>
          <ac:spMkLst>
            <pc:docMk/>
            <pc:sldMk cId="612280844" sldId="1890"/>
            <ac:spMk id="224" creationId="{B3E178F9-1599-4EE4-A454-9C015BD43FA3}"/>
          </ac:spMkLst>
        </pc:spChg>
      </pc:sldChg>
      <pc:sldChg chg="modNotesTx">
        <pc:chgData name="Erick Moore" userId="96a732b2-26bb-45da-b8ee-37851dfdb22e" providerId="ADAL" clId="{421EFE58-C744-487C-8529-5E403829B24E}" dt="2021-09-16T14:06:57.991" v="17637" actId="20577"/>
        <pc:sldMkLst>
          <pc:docMk/>
          <pc:sldMk cId="3658315723" sldId="4354"/>
        </pc:sldMkLst>
      </pc:sldChg>
      <pc:sldChg chg="modSp del mod">
        <pc:chgData name="Erick Moore" userId="96a732b2-26bb-45da-b8ee-37851dfdb22e" providerId="ADAL" clId="{421EFE58-C744-487C-8529-5E403829B24E}" dt="2021-08-23T18:02:26.093" v="5556" actId="2696"/>
        <pc:sldMkLst>
          <pc:docMk/>
          <pc:sldMk cId="4052579625" sldId="4354"/>
        </pc:sldMkLst>
        <pc:spChg chg="mod">
          <ac:chgData name="Erick Moore" userId="96a732b2-26bb-45da-b8ee-37851dfdb22e" providerId="ADAL" clId="{421EFE58-C744-487C-8529-5E403829B24E}" dt="2021-08-23T14:46:26.800" v="4027" actId="207"/>
          <ac:spMkLst>
            <pc:docMk/>
            <pc:sldMk cId="4052579625" sldId="4354"/>
            <ac:spMk id="759" creationId="{5CDBD7F5-B872-48A1-998F-332FFEB7777C}"/>
          </ac:spMkLst>
        </pc:spChg>
        <pc:spChg chg="mod">
          <ac:chgData name="Erick Moore" userId="96a732b2-26bb-45da-b8ee-37851dfdb22e" providerId="ADAL" clId="{421EFE58-C744-487C-8529-5E403829B24E}" dt="2021-08-23T14:46:50.903" v="4028" actId="207"/>
          <ac:spMkLst>
            <pc:docMk/>
            <pc:sldMk cId="4052579625" sldId="4354"/>
            <ac:spMk id="830" creationId="{79F256CC-6642-414E-B04A-08499114825A}"/>
          </ac:spMkLst>
        </pc:spChg>
        <pc:spChg chg="mod">
          <ac:chgData name="Erick Moore" userId="96a732b2-26bb-45da-b8ee-37851dfdb22e" providerId="ADAL" clId="{421EFE58-C744-487C-8529-5E403829B24E}" dt="2021-08-23T14:47:00.788" v="4029" actId="207"/>
          <ac:spMkLst>
            <pc:docMk/>
            <pc:sldMk cId="4052579625" sldId="4354"/>
            <ac:spMk id="835" creationId="{C1DE1610-3895-47C3-AD94-92DB8F086281}"/>
          </ac:spMkLst>
        </pc:spChg>
      </pc:sldChg>
      <pc:sldChg chg="del">
        <pc:chgData name="Erick Moore" userId="96a732b2-26bb-45da-b8ee-37851dfdb22e" providerId="ADAL" clId="{421EFE58-C744-487C-8529-5E403829B24E}" dt="2021-08-23T14:47:40.573" v="4030" actId="2696"/>
        <pc:sldMkLst>
          <pc:docMk/>
          <pc:sldMk cId="4011022643" sldId="4662"/>
        </pc:sldMkLst>
      </pc:sldChg>
      <pc:sldChg chg="modTransition modNotesTx">
        <pc:chgData name="Erick Moore" userId="96a732b2-26bb-45da-b8ee-37851dfdb22e" providerId="ADAL" clId="{421EFE58-C744-487C-8529-5E403829B24E}" dt="2021-08-27T20:05:50.926" v="11662" actId="20577"/>
        <pc:sldMkLst>
          <pc:docMk/>
          <pc:sldMk cId="2957638688" sldId="2076136473"/>
        </pc:sldMkLst>
      </pc:sldChg>
      <pc:sldChg chg="modSp del mod modClrScheme modShow chgLayout modNotesTx">
        <pc:chgData name="Erick Moore" userId="96a732b2-26bb-45da-b8ee-37851dfdb22e" providerId="ADAL" clId="{421EFE58-C744-487C-8529-5E403829B24E}" dt="2021-08-27T18:38:44.354" v="9967" actId="2696"/>
        <pc:sldMkLst>
          <pc:docMk/>
          <pc:sldMk cId="1304360580" sldId="2076136747"/>
        </pc:sldMkLst>
        <pc:spChg chg="mod ord">
          <ac:chgData name="Erick Moore" userId="96a732b2-26bb-45da-b8ee-37851dfdb22e" providerId="ADAL" clId="{421EFE58-C744-487C-8529-5E403829B24E}" dt="2021-08-17T19:11:36.564" v="1828" actId="700"/>
          <ac:spMkLst>
            <pc:docMk/>
            <pc:sldMk cId="1304360580" sldId="2076136747"/>
            <ac:spMk id="4" creationId="{00000000-0000-0000-0000-000000000000}"/>
          </ac:spMkLst>
        </pc:spChg>
      </pc:sldChg>
      <pc:sldChg chg="modSp mod modNotes modNotesTx">
        <pc:chgData name="Erick Moore" userId="96a732b2-26bb-45da-b8ee-37851dfdb22e" providerId="ADAL" clId="{421EFE58-C744-487C-8529-5E403829B24E}" dt="2021-08-27T20:07:01.454" v="11858" actId="20577"/>
        <pc:sldMkLst>
          <pc:docMk/>
          <pc:sldMk cId="2868977084" sldId="2076137221"/>
        </pc:sldMkLst>
        <pc:spChg chg="mod">
          <ac:chgData name="Erick Moore" userId="96a732b2-26bb-45da-b8ee-37851dfdb22e" providerId="ADAL" clId="{421EFE58-C744-487C-8529-5E403829B24E}" dt="2021-08-23T15:17:33.557" v="4032" actId="207"/>
          <ac:spMkLst>
            <pc:docMk/>
            <pc:sldMk cId="2868977084" sldId="2076137221"/>
            <ac:spMk id="4" creationId="{3D95C456-C651-451D-831D-F48295BCCDF9}"/>
          </ac:spMkLst>
        </pc:spChg>
        <pc:spChg chg="mod">
          <ac:chgData name="Erick Moore" userId="96a732b2-26bb-45da-b8ee-37851dfdb22e" providerId="ADAL" clId="{421EFE58-C744-487C-8529-5E403829B24E}" dt="2021-08-23T15:17:41.416" v="4033" actId="207"/>
          <ac:spMkLst>
            <pc:docMk/>
            <pc:sldMk cId="2868977084" sldId="2076137221"/>
            <ac:spMk id="6" creationId="{17FDB679-86CD-4B61-83FA-6FC05E8E4406}"/>
          </ac:spMkLst>
        </pc:spChg>
        <pc:spChg chg="mod">
          <ac:chgData name="Erick Moore" userId="96a732b2-26bb-45da-b8ee-37851dfdb22e" providerId="ADAL" clId="{421EFE58-C744-487C-8529-5E403829B24E}" dt="2021-08-23T15:17:41.416" v="4033" actId="207"/>
          <ac:spMkLst>
            <pc:docMk/>
            <pc:sldMk cId="2868977084" sldId="2076137221"/>
            <ac:spMk id="7" creationId="{D8B28742-7A0D-4BE5-98FC-21A9F0BBA15C}"/>
          </ac:spMkLst>
        </pc:spChg>
        <pc:spChg chg="mod">
          <ac:chgData name="Erick Moore" userId="96a732b2-26bb-45da-b8ee-37851dfdb22e" providerId="ADAL" clId="{421EFE58-C744-487C-8529-5E403829B24E}" dt="2021-08-23T15:17:41.416" v="4033" actId="207"/>
          <ac:spMkLst>
            <pc:docMk/>
            <pc:sldMk cId="2868977084" sldId="2076137221"/>
            <ac:spMk id="8" creationId="{323F8C76-EC7C-4C07-A2AC-48634738E5EB}"/>
          </ac:spMkLst>
        </pc:spChg>
        <pc:spChg chg="mod">
          <ac:chgData name="Erick Moore" userId="96a732b2-26bb-45da-b8ee-37851dfdb22e" providerId="ADAL" clId="{421EFE58-C744-487C-8529-5E403829B24E}" dt="2021-08-23T15:19:51.249" v="4040" actId="207"/>
          <ac:spMkLst>
            <pc:docMk/>
            <pc:sldMk cId="2868977084" sldId="2076137221"/>
            <ac:spMk id="15" creationId="{30073A42-CE40-43A5-BB58-0415F24474BD}"/>
          </ac:spMkLst>
        </pc:spChg>
        <pc:spChg chg="mod">
          <ac:chgData name="Erick Moore" userId="96a732b2-26bb-45da-b8ee-37851dfdb22e" providerId="ADAL" clId="{421EFE58-C744-487C-8529-5E403829B24E}" dt="2021-08-23T15:19:51.249" v="4040" actId="207"/>
          <ac:spMkLst>
            <pc:docMk/>
            <pc:sldMk cId="2868977084" sldId="2076137221"/>
            <ac:spMk id="18" creationId="{FC80F309-CAB4-4FBE-AE44-67AF4B586E38}"/>
          </ac:spMkLst>
        </pc:spChg>
        <pc:spChg chg="mod">
          <ac:chgData name="Erick Moore" userId="96a732b2-26bb-45da-b8ee-37851dfdb22e" providerId="ADAL" clId="{421EFE58-C744-487C-8529-5E403829B24E}" dt="2021-08-23T15:19:12.014" v="4037" actId="207"/>
          <ac:spMkLst>
            <pc:docMk/>
            <pc:sldMk cId="2868977084" sldId="2076137221"/>
            <ac:spMk id="23" creationId="{96861710-2922-4D97-918B-AA314C28C5C2}"/>
          </ac:spMkLst>
        </pc:spChg>
        <pc:spChg chg="mod">
          <ac:chgData name="Erick Moore" userId="96a732b2-26bb-45da-b8ee-37851dfdb22e" providerId="ADAL" clId="{421EFE58-C744-487C-8529-5E403829B24E}" dt="2021-08-23T15:19:51.249" v="4040" actId="207"/>
          <ac:spMkLst>
            <pc:docMk/>
            <pc:sldMk cId="2868977084" sldId="2076137221"/>
            <ac:spMk id="24" creationId="{F5A3DBEC-F5A8-4FB6-B718-0973D185B1B6}"/>
          </ac:spMkLst>
        </pc:spChg>
        <pc:spChg chg="mod">
          <ac:chgData name="Erick Moore" userId="96a732b2-26bb-45da-b8ee-37851dfdb22e" providerId="ADAL" clId="{421EFE58-C744-487C-8529-5E403829B24E}" dt="2021-08-23T15:19:20.249" v="4038" actId="207"/>
          <ac:spMkLst>
            <pc:docMk/>
            <pc:sldMk cId="2868977084" sldId="2076137221"/>
            <ac:spMk id="26" creationId="{7DF6DA0F-2808-4961-9789-C221BA606355}"/>
          </ac:spMkLst>
        </pc:spChg>
        <pc:spChg chg="mod">
          <ac:chgData name="Erick Moore" userId="96a732b2-26bb-45da-b8ee-37851dfdb22e" providerId="ADAL" clId="{421EFE58-C744-487C-8529-5E403829B24E}" dt="2021-08-23T15:17:48.338" v="4034" actId="207"/>
          <ac:spMkLst>
            <pc:docMk/>
            <pc:sldMk cId="2868977084" sldId="2076137221"/>
            <ac:spMk id="27" creationId="{62AEB550-3E70-4980-AB13-2ADAB6DA7F9B}"/>
          </ac:spMkLst>
        </pc:spChg>
        <pc:spChg chg="mod">
          <ac:chgData name="Erick Moore" userId="96a732b2-26bb-45da-b8ee-37851dfdb22e" providerId="ADAL" clId="{421EFE58-C744-487C-8529-5E403829B24E}" dt="2021-08-23T15:17:48.338" v="4034" actId="207"/>
          <ac:spMkLst>
            <pc:docMk/>
            <pc:sldMk cId="2868977084" sldId="2076137221"/>
            <ac:spMk id="45" creationId="{EA2860E8-3113-4976-8CA8-5CC62060E45B}"/>
          </ac:spMkLst>
        </pc:spChg>
        <pc:spChg chg="mod">
          <ac:chgData name="Erick Moore" userId="96a732b2-26bb-45da-b8ee-37851dfdb22e" providerId="ADAL" clId="{421EFE58-C744-487C-8529-5E403829B24E}" dt="2021-08-23T15:19:35.992" v="4039" actId="207"/>
          <ac:spMkLst>
            <pc:docMk/>
            <pc:sldMk cId="2868977084" sldId="2076137221"/>
            <ac:spMk id="79" creationId="{278313BC-430E-4957-A511-3ECA3814F69C}"/>
          </ac:spMkLst>
        </pc:spChg>
        <pc:picChg chg="mod">
          <ac:chgData name="Erick Moore" userId="96a732b2-26bb-45da-b8ee-37851dfdb22e" providerId="ADAL" clId="{421EFE58-C744-487C-8529-5E403829B24E}" dt="2021-08-23T15:18:08.606" v="4036"/>
          <ac:picMkLst>
            <pc:docMk/>
            <pc:sldMk cId="2868977084" sldId="2076137221"/>
            <ac:picMk id="34" creationId="{8116AC99-31A7-472E-9A59-73132181F920}"/>
          </ac:picMkLst>
        </pc:picChg>
        <pc:picChg chg="mod">
          <ac:chgData name="Erick Moore" userId="96a732b2-26bb-45da-b8ee-37851dfdb22e" providerId="ADAL" clId="{421EFE58-C744-487C-8529-5E403829B24E}" dt="2021-08-23T15:20:13.726" v="4042" actId="207"/>
          <ac:picMkLst>
            <pc:docMk/>
            <pc:sldMk cId="2868977084" sldId="2076137221"/>
            <ac:picMk id="118" creationId="{D1AA1D95-78C4-428F-82D6-DB8B084166F2}"/>
          </ac:picMkLst>
        </pc:picChg>
      </pc:sldChg>
      <pc:sldChg chg="modSp mod modTransition modShow">
        <pc:chgData name="Erick Moore" userId="96a732b2-26bb-45da-b8ee-37851dfdb22e" providerId="ADAL" clId="{421EFE58-C744-487C-8529-5E403829B24E}" dt="2021-08-17T20:51:33.529" v="3834" actId="729"/>
        <pc:sldMkLst>
          <pc:docMk/>
          <pc:sldMk cId="2663504162" sldId="2134804996"/>
        </pc:sldMkLst>
        <pc:spChg chg="mod">
          <ac:chgData name="Erick Moore" userId="96a732b2-26bb-45da-b8ee-37851dfdb22e" providerId="ADAL" clId="{421EFE58-C744-487C-8529-5E403829B24E}" dt="2021-08-17T19:10:49.661" v="1827"/>
          <ac:spMkLst>
            <pc:docMk/>
            <pc:sldMk cId="2663504162" sldId="2134804996"/>
            <ac:spMk id="29" creationId="{D693649C-8682-4A82-9350-B16B76D56128}"/>
          </ac:spMkLst>
        </pc:spChg>
      </pc:sldChg>
      <pc:sldChg chg="modNotesTx">
        <pc:chgData name="Erick Moore" userId="96a732b2-26bb-45da-b8ee-37851dfdb22e" providerId="ADAL" clId="{421EFE58-C744-487C-8529-5E403829B24E}" dt="2021-08-11T14:21:28.005" v="397" actId="20577"/>
        <pc:sldMkLst>
          <pc:docMk/>
          <pc:sldMk cId="3453069231" sldId="2134804999"/>
        </pc:sldMkLst>
      </pc:sldChg>
      <pc:sldChg chg="modNotesTx">
        <pc:chgData name="Erick Moore" userId="96a732b2-26bb-45da-b8ee-37851dfdb22e" providerId="ADAL" clId="{421EFE58-C744-487C-8529-5E403829B24E}" dt="2021-08-27T19:54:59.758" v="11622" actId="6549"/>
        <pc:sldMkLst>
          <pc:docMk/>
          <pc:sldMk cId="4189880712" sldId="2145705908"/>
        </pc:sldMkLst>
      </pc:sldChg>
      <pc:sldChg chg="modSp mod modTransition modNotesTx">
        <pc:chgData name="Erick Moore" userId="96a732b2-26bb-45da-b8ee-37851dfdb22e" providerId="ADAL" clId="{421EFE58-C744-487C-8529-5E403829B24E}" dt="2021-08-27T19:24:21.974" v="10793"/>
        <pc:sldMkLst>
          <pc:docMk/>
          <pc:sldMk cId="3675353970" sldId="2145705915"/>
        </pc:sldMkLst>
        <pc:spChg chg="mod">
          <ac:chgData name="Erick Moore" userId="96a732b2-26bb-45da-b8ee-37851dfdb22e" providerId="ADAL" clId="{421EFE58-C744-487C-8529-5E403829B24E}" dt="2021-08-27T18:32:47.929" v="9947" actId="20577"/>
          <ac:spMkLst>
            <pc:docMk/>
            <pc:sldMk cId="3675353970" sldId="2145705915"/>
            <ac:spMk id="29" creationId="{D693649C-8682-4A82-9350-B16B76D56128}"/>
          </ac:spMkLst>
        </pc:spChg>
        <pc:spChg chg="mod">
          <ac:chgData name="Erick Moore" userId="96a732b2-26bb-45da-b8ee-37851dfdb22e" providerId="ADAL" clId="{421EFE58-C744-487C-8529-5E403829B24E}" dt="2021-08-27T19:24:21.974" v="10793"/>
          <ac:spMkLst>
            <pc:docMk/>
            <pc:sldMk cId="3675353970" sldId="2145705915"/>
            <ac:spMk id="42" creationId="{1D67ACEB-DBC4-4D01-9DF9-D5BDAF5B1629}"/>
          </ac:spMkLst>
        </pc:spChg>
      </pc:sldChg>
      <pc:sldChg chg="modSp mod modTransition modShow modNotesTx">
        <pc:chgData name="Erick Moore" userId="96a732b2-26bb-45da-b8ee-37851dfdb22e" providerId="ADAL" clId="{421EFE58-C744-487C-8529-5E403829B24E}" dt="2021-08-24T14:49:34.951" v="6224" actId="729"/>
        <pc:sldMkLst>
          <pc:docMk/>
          <pc:sldMk cId="2243280449" sldId="2145705916"/>
        </pc:sldMkLst>
        <pc:spChg chg="mod">
          <ac:chgData name="Erick Moore" userId="96a732b2-26bb-45da-b8ee-37851dfdb22e" providerId="ADAL" clId="{421EFE58-C744-487C-8529-5E403829B24E}" dt="2021-08-17T19:10:49.661" v="1827"/>
          <ac:spMkLst>
            <pc:docMk/>
            <pc:sldMk cId="2243280449" sldId="2145705916"/>
            <ac:spMk id="29" creationId="{D693649C-8682-4A82-9350-B16B76D56128}"/>
          </ac:spMkLst>
        </pc:spChg>
      </pc:sldChg>
      <pc:sldChg chg="modNotesTx">
        <pc:chgData name="Erick Moore" userId="96a732b2-26bb-45da-b8ee-37851dfdb22e" providerId="ADAL" clId="{421EFE58-C744-487C-8529-5E403829B24E}" dt="2021-08-27T20:07:22.567" v="11859" actId="20577"/>
        <pc:sldMkLst>
          <pc:docMk/>
          <pc:sldMk cId="48680643" sldId="2145705929"/>
        </pc:sldMkLst>
      </pc:sldChg>
      <pc:sldChg chg="modNotesTx">
        <pc:chgData name="Erick Moore" userId="96a732b2-26bb-45da-b8ee-37851dfdb22e" providerId="ADAL" clId="{421EFE58-C744-487C-8529-5E403829B24E}" dt="2021-08-27T19:34:47.765" v="11520" actId="20577"/>
        <pc:sldMkLst>
          <pc:docMk/>
          <pc:sldMk cId="1847866599" sldId="2145705932"/>
        </pc:sldMkLst>
      </pc:sldChg>
      <pc:sldChg chg="modSp modAnim modNotesTx">
        <pc:chgData name="Erick Moore" userId="96a732b2-26bb-45da-b8ee-37851dfdb22e" providerId="ADAL" clId="{421EFE58-C744-487C-8529-5E403829B24E}" dt="2021-08-27T20:18:21.437" v="12327"/>
        <pc:sldMkLst>
          <pc:docMk/>
          <pc:sldMk cId="1252690396" sldId="2145705934"/>
        </pc:sldMkLst>
        <pc:spChg chg="mod">
          <ac:chgData name="Erick Moore" userId="96a732b2-26bb-45da-b8ee-37851dfdb22e" providerId="ADAL" clId="{421EFE58-C744-487C-8529-5E403829B24E}" dt="2021-08-27T20:16:18.040" v="12271" actId="20577"/>
          <ac:spMkLst>
            <pc:docMk/>
            <pc:sldMk cId="1252690396" sldId="2145705934"/>
            <ac:spMk id="17" creationId="{6C888C00-E318-43FB-A80C-54A8EA42D2C3}"/>
          </ac:spMkLst>
        </pc:spChg>
      </pc:sldChg>
      <pc:sldChg chg="modAnim modNotesTx">
        <pc:chgData name="Erick Moore" userId="96a732b2-26bb-45da-b8ee-37851dfdb22e" providerId="ADAL" clId="{421EFE58-C744-487C-8529-5E403829B24E}" dt="2021-08-27T20:25:17.454" v="12725" actId="20577"/>
        <pc:sldMkLst>
          <pc:docMk/>
          <pc:sldMk cId="4161746958" sldId="2145705935"/>
        </pc:sldMkLst>
      </pc:sldChg>
      <pc:sldChg chg="modNotesTx">
        <pc:chgData name="Erick Moore" userId="96a732b2-26bb-45da-b8ee-37851dfdb22e" providerId="ADAL" clId="{421EFE58-C744-487C-8529-5E403829B24E}" dt="2021-08-27T20:32:53.642" v="13449"/>
        <pc:sldMkLst>
          <pc:docMk/>
          <pc:sldMk cId="3361212018" sldId="2145705936"/>
        </pc:sldMkLst>
      </pc:sldChg>
      <pc:sldChg chg="modSp modAnim modNotesTx">
        <pc:chgData name="Erick Moore" userId="96a732b2-26bb-45da-b8ee-37851dfdb22e" providerId="ADAL" clId="{421EFE58-C744-487C-8529-5E403829B24E}" dt="2021-08-27T20:42:13.329" v="14349" actId="20577"/>
        <pc:sldMkLst>
          <pc:docMk/>
          <pc:sldMk cId="2098457255" sldId="2145705937"/>
        </pc:sldMkLst>
        <pc:spChg chg="mod">
          <ac:chgData name="Erick Moore" userId="96a732b2-26bb-45da-b8ee-37851dfdb22e" providerId="ADAL" clId="{421EFE58-C744-487C-8529-5E403829B24E}" dt="2021-08-23T15:40:55.266" v="4144" actId="20577"/>
          <ac:spMkLst>
            <pc:docMk/>
            <pc:sldMk cId="2098457255" sldId="2145705937"/>
            <ac:spMk id="29" creationId="{929BEB5C-D9F8-409E-828E-0F6BF9776A57}"/>
          </ac:spMkLst>
        </pc:spChg>
      </pc:sldChg>
      <pc:sldChg chg="modSp mod modNotesTx">
        <pc:chgData name="Erick Moore" userId="96a732b2-26bb-45da-b8ee-37851dfdb22e" providerId="ADAL" clId="{421EFE58-C744-487C-8529-5E403829B24E}" dt="2021-08-27T20:53:21.473" v="16018" actId="20577"/>
        <pc:sldMkLst>
          <pc:docMk/>
          <pc:sldMk cId="1275719691" sldId="2145705938"/>
        </pc:sldMkLst>
        <pc:spChg chg="mod">
          <ac:chgData name="Erick Moore" userId="96a732b2-26bb-45da-b8ee-37851dfdb22e" providerId="ADAL" clId="{421EFE58-C744-487C-8529-5E403829B24E}" dt="2021-08-17T19:22:17.318" v="3827" actId="1076"/>
          <ac:spMkLst>
            <pc:docMk/>
            <pc:sldMk cId="1275719691" sldId="2145705938"/>
            <ac:spMk id="16" creationId="{FBA75586-599E-45E1-A3E8-40E1594EB09E}"/>
          </ac:spMkLst>
        </pc:spChg>
        <pc:graphicFrameChg chg="mod modGraphic">
          <ac:chgData name="Erick Moore" userId="96a732b2-26bb-45da-b8ee-37851dfdb22e" providerId="ADAL" clId="{421EFE58-C744-487C-8529-5E403829B24E}" dt="2021-08-17T19:22:14.759" v="3826" actId="1076"/>
          <ac:graphicFrameMkLst>
            <pc:docMk/>
            <pc:sldMk cId="1275719691" sldId="2145705938"/>
            <ac:graphicFrameMk id="3" creationId="{574E80A3-860D-4A12-B7C0-EB68A405BCA6}"/>
          </ac:graphicFrameMkLst>
        </pc:graphicFrameChg>
      </pc:sldChg>
      <pc:sldChg chg="modSp mod modAnim modNotesTx">
        <pc:chgData name="Erick Moore" userId="96a732b2-26bb-45da-b8ee-37851dfdb22e" providerId="ADAL" clId="{421EFE58-C744-487C-8529-5E403829B24E}" dt="2021-08-27T21:19:08.760" v="17633"/>
        <pc:sldMkLst>
          <pc:docMk/>
          <pc:sldMk cId="645501948" sldId="2145705939"/>
        </pc:sldMkLst>
        <pc:spChg chg="mod">
          <ac:chgData name="Erick Moore" userId="96a732b2-26bb-45da-b8ee-37851dfdb22e" providerId="ADAL" clId="{421EFE58-C744-487C-8529-5E403829B24E}" dt="2021-08-25T16:19:59.604" v="6232" actId="403"/>
          <ac:spMkLst>
            <pc:docMk/>
            <pc:sldMk cId="645501948" sldId="2145705939"/>
            <ac:spMk id="11" creationId="{C75FED9E-A8FC-465B-8B84-6DB4F4ABCEF0}"/>
          </ac:spMkLst>
        </pc:spChg>
        <pc:spChg chg="mod">
          <ac:chgData name="Erick Moore" userId="96a732b2-26bb-45da-b8ee-37851dfdb22e" providerId="ADAL" clId="{421EFE58-C744-487C-8529-5E403829B24E}" dt="2021-08-25T16:20:04.253" v="6236" actId="404"/>
          <ac:spMkLst>
            <pc:docMk/>
            <pc:sldMk cId="645501948" sldId="2145705939"/>
            <ac:spMk id="12" creationId="{27DD116C-4244-4493-ADB8-FFDCD0000321}"/>
          </ac:spMkLst>
        </pc:spChg>
        <pc:spChg chg="mod">
          <ac:chgData name="Erick Moore" userId="96a732b2-26bb-45da-b8ee-37851dfdb22e" providerId="ADAL" clId="{421EFE58-C744-487C-8529-5E403829B24E}" dt="2021-08-25T16:19:43.365" v="6227" actId="14100"/>
          <ac:spMkLst>
            <pc:docMk/>
            <pc:sldMk cId="645501948" sldId="2145705939"/>
            <ac:spMk id="13" creationId="{48C1CFD8-0893-43F3-82AB-BF090ECDAA84}"/>
          </ac:spMkLst>
        </pc:spChg>
        <pc:spChg chg="mod">
          <ac:chgData name="Erick Moore" userId="96a732b2-26bb-45da-b8ee-37851dfdb22e" providerId="ADAL" clId="{421EFE58-C744-487C-8529-5E403829B24E}" dt="2021-08-25T16:19:55.402" v="6230" actId="14100"/>
          <ac:spMkLst>
            <pc:docMk/>
            <pc:sldMk cId="645501948" sldId="2145705939"/>
            <ac:spMk id="14" creationId="{57556266-50B7-41C6-B147-DCA29D10C2AC}"/>
          </ac:spMkLst>
        </pc:spChg>
      </pc:sldChg>
      <pc:sldChg chg="modNotesTx">
        <pc:chgData name="Erick Moore" userId="96a732b2-26bb-45da-b8ee-37851dfdb22e" providerId="ADAL" clId="{421EFE58-C744-487C-8529-5E403829B24E}" dt="2021-08-27T20:59:19.716" v="16471" actId="6549"/>
        <pc:sldMkLst>
          <pc:docMk/>
          <pc:sldMk cId="3186783452" sldId="2145705940"/>
        </pc:sldMkLst>
      </pc:sldChg>
      <pc:sldChg chg="delSp modSp mod modAnim modNotesTx">
        <pc:chgData name="Erick Moore" userId="96a732b2-26bb-45da-b8ee-37851dfdb22e" providerId="ADAL" clId="{421EFE58-C744-487C-8529-5E403829B24E}" dt="2021-08-27T21:08:54.206" v="17305"/>
        <pc:sldMkLst>
          <pc:docMk/>
          <pc:sldMk cId="1912072633" sldId="2145705941"/>
        </pc:sldMkLst>
        <pc:cxnChg chg="del mod">
          <ac:chgData name="Erick Moore" userId="96a732b2-26bb-45da-b8ee-37851dfdb22e" providerId="ADAL" clId="{421EFE58-C744-487C-8529-5E403829B24E}" dt="2021-08-23T18:52:04.672" v="5656" actId="478"/>
          <ac:cxnSpMkLst>
            <pc:docMk/>
            <pc:sldMk cId="1912072633" sldId="2145705941"/>
            <ac:cxnSpMk id="83" creationId="{41581BE6-770B-4071-8D3D-232158A7CEBE}"/>
          </ac:cxnSpMkLst>
        </pc:cxnChg>
        <pc:cxnChg chg="del mod">
          <ac:chgData name="Erick Moore" userId="96a732b2-26bb-45da-b8ee-37851dfdb22e" providerId="ADAL" clId="{421EFE58-C744-487C-8529-5E403829B24E}" dt="2021-08-23T18:52:07.041" v="5657" actId="478"/>
          <ac:cxnSpMkLst>
            <pc:docMk/>
            <pc:sldMk cId="1912072633" sldId="2145705941"/>
            <ac:cxnSpMk id="86" creationId="{8B3E33AE-E3B0-4AD3-B89E-7C7B8A093D39}"/>
          </ac:cxnSpMkLst>
        </pc:cxnChg>
        <pc:cxnChg chg="del mod">
          <ac:chgData name="Erick Moore" userId="96a732b2-26bb-45da-b8ee-37851dfdb22e" providerId="ADAL" clId="{421EFE58-C744-487C-8529-5E403829B24E}" dt="2021-08-23T18:52:09.091" v="5658" actId="478"/>
          <ac:cxnSpMkLst>
            <pc:docMk/>
            <pc:sldMk cId="1912072633" sldId="2145705941"/>
            <ac:cxnSpMk id="89" creationId="{61B77B97-F8B2-4206-892E-231365A78AB0}"/>
          </ac:cxnSpMkLst>
        </pc:cxnChg>
        <pc:cxnChg chg="del mod">
          <ac:chgData name="Erick Moore" userId="96a732b2-26bb-45da-b8ee-37851dfdb22e" providerId="ADAL" clId="{421EFE58-C744-487C-8529-5E403829B24E}" dt="2021-08-23T18:52:10.748" v="5659" actId="478"/>
          <ac:cxnSpMkLst>
            <pc:docMk/>
            <pc:sldMk cId="1912072633" sldId="2145705941"/>
            <ac:cxnSpMk id="93" creationId="{7D70EA44-E1FB-48F7-AB15-30835CB93E84}"/>
          </ac:cxnSpMkLst>
        </pc:cxnChg>
        <pc:cxnChg chg="del mod">
          <ac:chgData name="Erick Moore" userId="96a732b2-26bb-45da-b8ee-37851dfdb22e" providerId="ADAL" clId="{421EFE58-C744-487C-8529-5E403829B24E}" dt="2021-08-23T18:52:16.642" v="5660" actId="478"/>
          <ac:cxnSpMkLst>
            <pc:docMk/>
            <pc:sldMk cId="1912072633" sldId="2145705941"/>
            <ac:cxnSpMk id="100" creationId="{A31B1039-7912-4A4B-B8C0-92238AE7F64D}"/>
          </ac:cxnSpMkLst>
        </pc:cxnChg>
        <pc:cxnChg chg="del mod">
          <ac:chgData name="Erick Moore" userId="96a732b2-26bb-45da-b8ee-37851dfdb22e" providerId="ADAL" clId="{421EFE58-C744-487C-8529-5E403829B24E}" dt="2021-08-23T18:52:18.237" v="5661" actId="478"/>
          <ac:cxnSpMkLst>
            <pc:docMk/>
            <pc:sldMk cId="1912072633" sldId="2145705941"/>
            <ac:cxnSpMk id="104" creationId="{692DA063-B990-42A0-8429-252A6D06C857}"/>
          </ac:cxnSpMkLst>
        </pc:cxnChg>
      </pc:sldChg>
      <pc:sldChg chg="modAnim modNotesTx">
        <pc:chgData name="Erick Moore" userId="96a732b2-26bb-45da-b8ee-37851dfdb22e" providerId="ADAL" clId="{421EFE58-C744-487C-8529-5E403829B24E}" dt="2021-08-27T21:08:31.138" v="17304"/>
        <pc:sldMkLst>
          <pc:docMk/>
          <pc:sldMk cId="258342502" sldId="2145705943"/>
        </pc:sldMkLst>
      </pc:sldChg>
      <pc:sldChg chg="del mod modShow">
        <pc:chgData name="Erick Moore" userId="96a732b2-26bb-45da-b8ee-37851dfdb22e" providerId="ADAL" clId="{421EFE58-C744-487C-8529-5E403829B24E}" dt="2021-08-24T14:47:48.413" v="6197" actId="2696"/>
        <pc:sldMkLst>
          <pc:docMk/>
          <pc:sldMk cId="2739922447" sldId="2145705944"/>
        </pc:sldMkLst>
      </pc:sldChg>
      <pc:sldChg chg="modNotesTx">
        <pc:chgData name="Erick Moore" userId="96a732b2-26bb-45da-b8ee-37851dfdb22e" providerId="ADAL" clId="{421EFE58-C744-487C-8529-5E403829B24E}" dt="2021-08-27T21:00:47.915" v="16487" actId="6549"/>
        <pc:sldMkLst>
          <pc:docMk/>
          <pc:sldMk cId="4043095027" sldId="2145705945"/>
        </pc:sldMkLst>
      </pc:sldChg>
      <pc:sldChg chg="modNotesTx">
        <pc:chgData name="Erick Moore" userId="96a732b2-26bb-45da-b8ee-37851dfdb22e" providerId="ADAL" clId="{421EFE58-C744-487C-8529-5E403829B24E}" dt="2021-08-27T21:03:19.423" v="17022" actId="20577"/>
        <pc:sldMkLst>
          <pc:docMk/>
          <pc:sldMk cId="2931763207" sldId="2145705946"/>
        </pc:sldMkLst>
      </pc:sldChg>
      <pc:sldChg chg="addSp delSp modSp del mod modAnim modNotesTx">
        <pc:chgData name="Erick Moore" userId="96a732b2-26bb-45da-b8ee-37851dfdb22e" providerId="ADAL" clId="{421EFE58-C744-487C-8529-5E403829B24E}" dt="2021-08-24T14:47:12.334" v="6172" actId="2696"/>
        <pc:sldMkLst>
          <pc:docMk/>
          <pc:sldMk cId="2754184263" sldId="2145705947"/>
        </pc:sldMkLst>
        <pc:spChg chg="mod">
          <ac:chgData name="Erick Moore" userId="96a732b2-26bb-45da-b8ee-37851dfdb22e" providerId="ADAL" clId="{421EFE58-C744-487C-8529-5E403829B24E}" dt="2021-08-23T18:03:56.907" v="5561" actId="1076"/>
          <ac:spMkLst>
            <pc:docMk/>
            <pc:sldMk cId="2754184263" sldId="2145705947"/>
            <ac:spMk id="7" creationId="{1EC947DF-6496-473D-A06C-67A9F3037AC8}"/>
          </ac:spMkLst>
        </pc:spChg>
        <pc:spChg chg="mod">
          <ac:chgData name="Erick Moore" userId="96a732b2-26bb-45da-b8ee-37851dfdb22e" providerId="ADAL" clId="{421EFE58-C744-487C-8529-5E403829B24E}" dt="2021-08-23T18:03:56.907" v="5561" actId="1076"/>
          <ac:spMkLst>
            <pc:docMk/>
            <pc:sldMk cId="2754184263" sldId="2145705947"/>
            <ac:spMk id="9" creationId="{BF341F6B-86CE-401F-966F-F636E518D209}"/>
          </ac:spMkLst>
        </pc:spChg>
        <pc:spChg chg="mod">
          <ac:chgData name="Erick Moore" userId="96a732b2-26bb-45da-b8ee-37851dfdb22e" providerId="ADAL" clId="{421EFE58-C744-487C-8529-5E403829B24E}" dt="2021-08-23T18:03:56.907" v="5561" actId="1076"/>
          <ac:spMkLst>
            <pc:docMk/>
            <pc:sldMk cId="2754184263" sldId="2145705947"/>
            <ac:spMk id="11" creationId="{F68FA816-D06D-4F92-91F8-0948D4CE6972}"/>
          </ac:spMkLst>
        </pc:spChg>
        <pc:spChg chg="mod">
          <ac:chgData name="Erick Moore" userId="96a732b2-26bb-45da-b8ee-37851dfdb22e" providerId="ADAL" clId="{421EFE58-C744-487C-8529-5E403829B24E}" dt="2021-08-23T18:03:56.907" v="5561" actId="1076"/>
          <ac:spMkLst>
            <pc:docMk/>
            <pc:sldMk cId="2754184263" sldId="2145705947"/>
            <ac:spMk id="12" creationId="{E9194F37-6001-4AF8-B62D-9FB0EE17B634}"/>
          </ac:spMkLst>
        </pc:spChg>
        <pc:grpChg chg="add mod">
          <ac:chgData name="Erick Moore" userId="96a732b2-26bb-45da-b8ee-37851dfdb22e" providerId="ADAL" clId="{421EFE58-C744-487C-8529-5E403829B24E}" dt="2021-08-23T18:03:56.907" v="5561" actId="1076"/>
          <ac:grpSpMkLst>
            <pc:docMk/>
            <pc:sldMk cId="2754184263" sldId="2145705947"/>
            <ac:grpSpMk id="6" creationId="{D604B4CA-7459-4EAC-A5C7-52F8F493FF58}"/>
          </ac:grpSpMkLst>
        </pc:grpChg>
        <pc:grpChg chg="mod">
          <ac:chgData name="Erick Moore" userId="96a732b2-26bb-45da-b8ee-37851dfdb22e" providerId="ADAL" clId="{421EFE58-C744-487C-8529-5E403829B24E}" dt="2021-08-23T18:03:56.907" v="5561" actId="1076"/>
          <ac:grpSpMkLst>
            <pc:docMk/>
            <pc:sldMk cId="2754184263" sldId="2145705947"/>
            <ac:grpSpMk id="8" creationId="{70836943-182A-4104-8D95-804A33082BA3}"/>
          </ac:grpSpMkLst>
        </pc:grpChg>
        <pc:grpChg chg="mod">
          <ac:chgData name="Erick Moore" userId="96a732b2-26bb-45da-b8ee-37851dfdb22e" providerId="ADAL" clId="{421EFE58-C744-487C-8529-5E403829B24E}" dt="2021-08-23T18:03:56.907" v="5561" actId="1076"/>
          <ac:grpSpMkLst>
            <pc:docMk/>
            <pc:sldMk cId="2754184263" sldId="2145705947"/>
            <ac:grpSpMk id="10" creationId="{A94DE665-DC39-4794-B2EF-597D95B332F7}"/>
          </ac:grpSpMkLst>
        </pc:grpChg>
        <pc:picChg chg="del">
          <ac:chgData name="Erick Moore" userId="96a732b2-26bb-45da-b8ee-37851dfdb22e" providerId="ADAL" clId="{421EFE58-C744-487C-8529-5E403829B24E}" dt="2021-08-23T18:03:52.358" v="5560" actId="478"/>
          <ac:picMkLst>
            <pc:docMk/>
            <pc:sldMk cId="2754184263" sldId="2145705947"/>
            <ac:picMk id="18" creationId="{7BF654E5-24E6-4AE4-B4F3-0F4F0352DE8C}"/>
          </ac:picMkLst>
        </pc:picChg>
      </pc:sldChg>
      <pc:sldChg chg="delSp modSp del mod modAnim modNotesTx">
        <pc:chgData name="Erick Moore" userId="96a732b2-26bb-45da-b8ee-37851dfdb22e" providerId="ADAL" clId="{421EFE58-C744-487C-8529-5E403829B24E}" dt="2021-08-23T18:02:26.093" v="5556" actId="2696"/>
        <pc:sldMkLst>
          <pc:docMk/>
          <pc:sldMk cId="3576851899" sldId="2145705947"/>
        </pc:sldMkLst>
        <pc:spChg chg="mod">
          <ac:chgData name="Erick Moore" userId="96a732b2-26bb-45da-b8ee-37851dfdb22e" providerId="ADAL" clId="{421EFE58-C744-487C-8529-5E403829B24E}" dt="2021-08-23T18:01:22.500" v="5547" actId="20577"/>
          <ac:spMkLst>
            <pc:docMk/>
            <pc:sldMk cId="3576851899" sldId="2145705947"/>
            <ac:spMk id="17" creationId="{6C888C00-E318-43FB-A80C-54A8EA42D2C3}"/>
          </ac:spMkLst>
        </pc:spChg>
        <pc:spChg chg="mod">
          <ac:chgData name="Erick Moore" userId="96a732b2-26bb-45da-b8ee-37851dfdb22e" providerId="ADAL" clId="{421EFE58-C744-487C-8529-5E403829B24E}" dt="2021-08-23T15:53:10.061" v="5067" actId="313"/>
          <ac:spMkLst>
            <pc:docMk/>
            <pc:sldMk cId="3576851899" sldId="2145705947"/>
            <ac:spMk id="27" creationId="{C3D7BFB0-2FEE-42AE-8273-78D9586CAA0C}"/>
          </ac:spMkLst>
        </pc:spChg>
        <pc:spChg chg="del">
          <ac:chgData name="Erick Moore" userId="96a732b2-26bb-45da-b8ee-37851dfdb22e" providerId="ADAL" clId="{421EFE58-C744-487C-8529-5E403829B24E}" dt="2021-08-23T15:54:09.107" v="5203" actId="478"/>
          <ac:spMkLst>
            <pc:docMk/>
            <pc:sldMk cId="3576851899" sldId="2145705947"/>
            <ac:spMk id="28" creationId="{341B4838-6E5C-4EEB-B099-9F71B699AA18}"/>
          </ac:spMkLst>
        </pc:spChg>
        <pc:spChg chg="del">
          <ac:chgData name="Erick Moore" userId="96a732b2-26bb-45da-b8ee-37851dfdb22e" providerId="ADAL" clId="{421EFE58-C744-487C-8529-5E403829B24E}" dt="2021-08-23T15:54:10.366" v="5204" actId="478"/>
          <ac:spMkLst>
            <pc:docMk/>
            <pc:sldMk cId="3576851899" sldId="2145705947"/>
            <ac:spMk id="29" creationId="{929BEB5C-D9F8-409E-828E-0F6BF9776A57}"/>
          </ac:spMkLst>
        </pc:spChg>
        <pc:spChg chg="del">
          <ac:chgData name="Erick Moore" userId="96a732b2-26bb-45da-b8ee-37851dfdb22e" providerId="ADAL" clId="{421EFE58-C744-487C-8529-5E403829B24E}" dt="2021-08-23T15:54:12.129" v="5205" actId="478"/>
          <ac:spMkLst>
            <pc:docMk/>
            <pc:sldMk cId="3576851899" sldId="2145705947"/>
            <ac:spMk id="30" creationId="{CDD5805B-294B-4B3C-83ED-4CC0EE776FF7}"/>
          </ac:spMkLst>
        </pc:spChg>
        <pc:picChg chg="del">
          <ac:chgData name="Erick Moore" userId="96a732b2-26bb-45da-b8ee-37851dfdb22e" providerId="ADAL" clId="{421EFE58-C744-487C-8529-5E403829B24E}" dt="2021-08-23T15:53:15.925" v="5068" actId="478"/>
          <ac:picMkLst>
            <pc:docMk/>
            <pc:sldMk cId="3576851899" sldId="2145705947"/>
            <ac:picMk id="13" creationId="{15B9B34A-9EDB-4E45-B3C2-BEB4A432D7A3}"/>
          </ac:picMkLst>
        </pc:picChg>
        <pc:picChg chg="del">
          <ac:chgData name="Erick Moore" userId="96a732b2-26bb-45da-b8ee-37851dfdb22e" providerId="ADAL" clId="{421EFE58-C744-487C-8529-5E403829B24E}" dt="2021-08-23T15:53:17.191" v="5070" actId="478"/>
          <ac:picMkLst>
            <pc:docMk/>
            <pc:sldMk cId="3576851899" sldId="2145705947"/>
            <ac:picMk id="15" creationId="{02E73163-AA26-4EB5-96CF-406F69506D60}"/>
          </ac:picMkLst>
        </pc:picChg>
        <pc:picChg chg="mod">
          <ac:chgData name="Erick Moore" userId="96a732b2-26bb-45da-b8ee-37851dfdb22e" providerId="ADAL" clId="{421EFE58-C744-487C-8529-5E403829B24E}" dt="2021-08-23T17:59:40.502" v="5464" actId="1076"/>
          <ac:picMkLst>
            <pc:docMk/>
            <pc:sldMk cId="3576851899" sldId="2145705947"/>
            <ac:picMk id="18" creationId="{7BF654E5-24E6-4AE4-B4F3-0F4F0352DE8C}"/>
          </ac:picMkLst>
        </pc:picChg>
        <pc:picChg chg="del">
          <ac:chgData name="Erick Moore" userId="96a732b2-26bb-45da-b8ee-37851dfdb22e" providerId="ADAL" clId="{421EFE58-C744-487C-8529-5E403829B24E}" dt="2021-08-23T15:53:16.735" v="5069" actId="478"/>
          <ac:picMkLst>
            <pc:docMk/>
            <pc:sldMk cId="3576851899" sldId="2145705947"/>
            <ac:picMk id="20" creationId="{CC2D4EC7-4323-4ADC-9E6E-619459305C4C}"/>
          </ac:picMkLst>
        </pc:picChg>
      </pc:sldChg>
      <pc:sldChg chg="modSp mod modAnim modNotesTx">
        <pc:chgData name="Erick Moore" userId="96a732b2-26bb-45da-b8ee-37851dfdb22e" providerId="ADAL" clId="{421EFE58-C744-487C-8529-5E403829B24E}" dt="2021-08-27T14:44:32.597" v="9097" actId="20577"/>
        <pc:sldMkLst>
          <pc:docMk/>
          <pc:sldMk cId="349597800" sldId="2145705948"/>
        </pc:sldMkLst>
        <pc:spChg chg="mod">
          <ac:chgData name="Erick Moore" userId="96a732b2-26bb-45da-b8ee-37851dfdb22e" providerId="ADAL" clId="{421EFE58-C744-487C-8529-5E403829B24E}" dt="2021-08-24T12:27:10.535" v="6115" actId="20577"/>
          <ac:spMkLst>
            <pc:docMk/>
            <pc:sldMk cId="349597800" sldId="2145705948"/>
            <ac:spMk id="17" creationId="{6C888C00-E318-43FB-A80C-54A8EA42D2C3}"/>
          </ac:spMkLst>
        </pc:spChg>
        <pc:spChg chg="mod">
          <ac:chgData name="Erick Moore" userId="96a732b2-26bb-45da-b8ee-37851dfdb22e" providerId="ADAL" clId="{421EFE58-C744-487C-8529-5E403829B24E}" dt="2021-08-24T12:22:21.874" v="5676" actId="6549"/>
          <ac:spMkLst>
            <pc:docMk/>
            <pc:sldMk cId="349597800" sldId="2145705948"/>
            <ac:spMk id="27" creationId="{C3D7BFB0-2FEE-42AE-8273-78D9586CAA0C}"/>
          </ac:spMkLst>
        </pc:spChg>
      </pc:sldChg>
      <pc:sldChg chg="add modNotesTx">
        <pc:chgData name="Erick Moore" userId="96a732b2-26bb-45da-b8ee-37851dfdb22e" providerId="ADAL" clId="{421EFE58-C744-487C-8529-5E403829B24E}" dt="2021-08-27T20:39:26.191" v="14198" actId="20577"/>
        <pc:sldMkLst>
          <pc:docMk/>
          <pc:sldMk cId="1744018330" sldId="2145705949"/>
        </pc:sldMkLst>
      </pc:sldChg>
      <pc:sldChg chg="addSp delSp modSp add mod modAnim modNotesTx">
        <pc:chgData name="Erick Moore" userId="96a732b2-26bb-45da-b8ee-37851dfdb22e" providerId="ADAL" clId="{421EFE58-C744-487C-8529-5E403829B24E}" dt="2021-08-27T21:12:13.111" v="17619" actId="20577"/>
        <pc:sldMkLst>
          <pc:docMk/>
          <pc:sldMk cId="1456388625" sldId="2145705950"/>
        </pc:sldMkLst>
        <pc:spChg chg="mod">
          <ac:chgData name="Erick Moore" userId="96a732b2-26bb-45da-b8ee-37851dfdb22e" providerId="ADAL" clId="{421EFE58-C744-487C-8529-5E403829B24E}" dt="2021-08-27T19:48:44.824" v="11606" actId="1076"/>
          <ac:spMkLst>
            <pc:docMk/>
            <pc:sldMk cId="1456388625" sldId="2145705950"/>
            <ac:spMk id="14" creationId="{B3AF7859-2DF5-404D-8895-31B7D1CB4EED}"/>
          </ac:spMkLst>
        </pc:spChg>
        <pc:spChg chg="mod">
          <ac:chgData name="Erick Moore" userId="96a732b2-26bb-45da-b8ee-37851dfdb22e" providerId="ADAL" clId="{421EFE58-C744-487C-8529-5E403829B24E}" dt="2021-08-27T19:48:44.824" v="11606" actId="1076"/>
          <ac:spMkLst>
            <pc:docMk/>
            <pc:sldMk cId="1456388625" sldId="2145705950"/>
            <ac:spMk id="16" creationId="{22A07595-E71B-47EF-B392-EAA0906D29A6}"/>
          </ac:spMkLst>
        </pc:spChg>
        <pc:spChg chg="mod">
          <ac:chgData name="Erick Moore" userId="96a732b2-26bb-45da-b8ee-37851dfdb22e" providerId="ADAL" clId="{421EFE58-C744-487C-8529-5E403829B24E}" dt="2021-08-26T18:55:22.056" v="7359" actId="20577"/>
          <ac:spMkLst>
            <pc:docMk/>
            <pc:sldMk cId="1456388625" sldId="2145705950"/>
            <ac:spMk id="17" creationId="{6C888C00-E318-43FB-A80C-54A8EA42D2C3}"/>
          </ac:spMkLst>
        </pc:spChg>
        <pc:spChg chg="mod">
          <ac:chgData name="Erick Moore" userId="96a732b2-26bb-45da-b8ee-37851dfdb22e" providerId="ADAL" clId="{421EFE58-C744-487C-8529-5E403829B24E}" dt="2021-08-27T19:48:44.824" v="11606" actId="1076"/>
          <ac:spMkLst>
            <pc:docMk/>
            <pc:sldMk cId="1456388625" sldId="2145705950"/>
            <ac:spMk id="18" creationId="{CFFAA964-59A9-46A5-A775-A7003B8BC19A}"/>
          </ac:spMkLst>
        </pc:spChg>
        <pc:spChg chg="mod">
          <ac:chgData name="Erick Moore" userId="96a732b2-26bb-45da-b8ee-37851dfdb22e" providerId="ADAL" clId="{421EFE58-C744-487C-8529-5E403829B24E}" dt="2021-08-27T19:48:44.824" v="11606" actId="1076"/>
          <ac:spMkLst>
            <pc:docMk/>
            <pc:sldMk cId="1456388625" sldId="2145705950"/>
            <ac:spMk id="19" creationId="{F46142FA-BC89-4411-94CA-21FC13868995}"/>
          </ac:spMkLst>
        </pc:spChg>
        <pc:spChg chg="mod">
          <ac:chgData name="Erick Moore" userId="96a732b2-26bb-45da-b8ee-37851dfdb22e" providerId="ADAL" clId="{421EFE58-C744-487C-8529-5E403829B24E}" dt="2021-08-27T19:48:44.824" v="11606" actId="1076"/>
          <ac:spMkLst>
            <pc:docMk/>
            <pc:sldMk cId="1456388625" sldId="2145705950"/>
            <ac:spMk id="20" creationId="{4FD8ED2E-8954-4691-8382-8BED8BCA38DD}"/>
          </ac:spMkLst>
        </pc:spChg>
        <pc:spChg chg="mod">
          <ac:chgData name="Erick Moore" userId="96a732b2-26bb-45da-b8ee-37851dfdb22e" providerId="ADAL" clId="{421EFE58-C744-487C-8529-5E403829B24E}" dt="2021-08-27T19:48:44.824" v="11606" actId="1076"/>
          <ac:spMkLst>
            <pc:docMk/>
            <pc:sldMk cId="1456388625" sldId="2145705950"/>
            <ac:spMk id="21" creationId="{D2E5175A-9BF4-4A52-80F8-A33FAF21B892}"/>
          </ac:spMkLst>
        </pc:spChg>
        <pc:spChg chg="mod">
          <ac:chgData name="Erick Moore" userId="96a732b2-26bb-45da-b8ee-37851dfdb22e" providerId="ADAL" clId="{421EFE58-C744-487C-8529-5E403829B24E}" dt="2021-08-27T19:48:44.824" v="11606" actId="1076"/>
          <ac:spMkLst>
            <pc:docMk/>
            <pc:sldMk cId="1456388625" sldId="2145705950"/>
            <ac:spMk id="23" creationId="{F2F1D6C7-681C-4CCD-908C-F8FF940015C2}"/>
          </ac:spMkLst>
        </pc:spChg>
        <pc:spChg chg="mod">
          <ac:chgData name="Erick Moore" userId="96a732b2-26bb-45da-b8ee-37851dfdb22e" providerId="ADAL" clId="{421EFE58-C744-487C-8529-5E403829B24E}" dt="2021-08-27T19:48:44.824" v="11606" actId="1076"/>
          <ac:spMkLst>
            <pc:docMk/>
            <pc:sldMk cId="1456388625" sldId="2145705950"/>
            <ac:spMk id="24" creationId="{CCD1B965-8198-4652-8677-49421C322363}"/>
          </ac:spMkLst>
        </pc:spChg>
        <pc:spChg chg="mod">
          <ac:chgData name="Erick Moore" userId="96a732b2-26bb-45da-b8ee-37851dfdb22e" providerId="ADAL" clId="{421EFE58-C744-487C-8529-5E403829B24E}" dt="2021-08-27T19:48:44.824" v="11606" actId="1076"/>
          <ac:spMkLst>
            <pc:docMk/>
            <pc:sldMk cId="1456388625" sldId="2145705950"/>
            <ac:spMk id="25" creationId="{24391BDF-9203-4419-99AF-C1AE8A3EAA7A}"/>
          </ac:spMkLst>
        </pc:spChg>
        <pc:spChg chg="mod">
          <ac:chgData name="Erick Moore" userId="96a732b2-26bb-45da-b8ee-37851dfdb22e" providerId="ADAL" clId="{421EFE58-C744-487C-8529-5E403829B24E}" dt="2021-08-27T19:48:44.824" v="11606" actId="1076"/>
          <ac:spMkLst>
            <pc:docMk/>
            <pc:sldMk cId="1456388625" sldId="2145705950"/>
            <ac:spMk id="26" creationId="{63A145C9-5EDD-4881-80D8-395754536EBE}"/>
          </ac:spMkLst>
        </pc:spChg>
        <pc:spChg chg="mod">
          <ac:chgData name="Erick Moore" userId="96a732b2-26bb-45da-b8ee-37851dfdb22e" providerId="ADAL" clId="{421EFE58-C744-487C-8529-5E403829B24E}" dt="2021-08-27T19:25:01.057" v="10807" actId="20577"/>
          <ac:spMkLst>
            <pc:docMk/>
            <pc:sldMk cId="1456388625" sldId="2145705950"/>
            <ac:spMk id="27" creationId="{C3D7BFB0-2FEE-42AE-8273-78D9586CAA0C}"/>
          </ac:spMkLst>
        </pc:spChg>
        <pc:spChg chg="mod">
          <ac:chgData name="Erick Moore" userId="96a732b2-26bb-45da-b8ee-37851dfdb22e" providerId="ADAL" clId="{421EFE58-C744-487C-8529-5E403829B24E}" dt="2021-08-27T19:48:44.824" v="11606" actId="1076"/>
          <ac:spMkLst>
            <pc:docMk/>
            <pc:sldMk cId="1456388625" sldId="2145705950"/>
            <ac:spMk id="28" creationId="{72EC2026-E9E8-42E0-8201-EC18E4B5669A}"/>
          </ac:spMkLst>
        </pc:spChg>
        <pc:spChg chg="mod">
          <ac:chgData name="Erick Moore" userId="96a732b2-26bb-45da-b8ee-37851dfdb22e" providerId="ADAL" clId="{421EFE58-C744-487C-8529-5E403829B24E}" dt="2021-08-27T19:48:44.824" v="11606" actId="1076"/>
          <ac:spMkLst>
            <pc:docMk/>
            <pc:sldMk cId="1456388625" sldId="2145705950"/>
            <ac:spMk id="29" creationId="{44E28A49-DBB4-4E87-8951-02EF9E3D80E7}"/>
          </ac:spMkLst>
        </pc:spChg>
        <pc:spChg chg="mod">
          <ac:chgData name="Erick Moore" userId="96a732b2-26bb-45da-b8ee-37851dfdb22e" providerId="ADAL" clId="{421EFE58-C744-487C-8529-5E403829B24E}" dt="2021-08-27T19:48:44.824" v="11606" actId="1076"/>
          <ac:spMkLst>
            <pc:docMk/>
            <pc:sldMk cId="1456388625" sldId="2145705950"/>
            <ac:spMk id="30" creationId="{E74A713B-3F7E-42BF-8D9B-0898046B1413}"/>
          </ac:spMkLst>
        </pc:spChg>
        <pc:spChg chg="mod">
          <ac:chgData name="Erick Moore" userId="96a732b2-26bb-45da-b8ee-37851dfdb22e" providerId="ADAL" clId="{421EFE58-C744-487C-8529-5E403829B24E}" dt="2021-08-27T19:48:44.824" v="11606" actId="1076"/>
          <ac:spMkLst>
            <pc:docMk/>
            <pc:sldMk cId="1456388625" sldId="2145705950"/>
            <ac:spMk id="31" creationId="{445BBE7D-797A-4743-AC1F-85BAC2A82787}"/>
          </ac:spMkLst>
        </pc:spChg>
        <pc:grpChg chg="del">
          <ac:chgData name="Erick Moore" userId="96a732b2-26bb-45da-b8ee-37851dfdb22e" providerId="ADAL" clId="{421EFE58-C744-487C-8529-5E403829B24E}" dt="2021-08-27T19:48:30.860" v="11604" actId="478"/>
          <ac:grpSpMkLst>
            <pc:docMk/>
            <pc:sldMk cId="1456388625" sldId="2145705950"/>
            <ac:grpSpMk id="6" creationId="{D604B4CA-7459-4EAC-A5C7-52F8F493FF58}"/>
          </ac:grpSpMkLst>
        </pc:grpChg>
        <pc:grpChg chg="add mod">
          <ac:chgData name="Erick Moore" userId="96a732b2-26bb-45da-b8ee-37851dfdb22e" providerId="ADAL" clId="{421EFE58-C744-487C-8529-5E403829B24E}" dt="2021-08-27T19:49:10.030" v="11607" actId="207"/>
          <ac:grpSpMkLst>
            <pc:docMk/>
            <pc:sldMk cId="1456388625" sldId="2145705950"/>
            <ac:grpSpMk id="13" creationId="{411C608B-75CC-49B2-AC79-D7F6730BBBE4}"/>
          </ac:grpSpMkLst>
        </pc:grpChg>
        <pc:grpChg chg="mod">
          <ac:chgData name="Erick Moore" userId="96a732b2-26bb-45da-b8ee-37851dfdb22e" providerId="ADAL" clId="{421EFE58-C744-487C-8529-5E403829B24E}" dt="2021-08-27T19:48:44.824" v="11606" actId="1076"/>
          <ac:grpSpMkLst>
            <pc:docMk/>
            <pc:sldMk cId="1456388625" sldId="2145705950"/>
            <ac:grpSpMk id="15" creationId="{3AD10BC0-3373-4C18-B163-F0FAFE3FEBA2}"/>
          </ac:grpSpMkLst>
        </pc:grpChg>
      </pc:sldChg>
      <pc:sldChg chg="addSp delSp modSp mod ord modAnim modNotesTx">
        <pc:chgData name="Erick Moore" userId="96a732b2-26bb-45da-b8ee-37851dfdb22e" providerId="ADAL" clId="{421EFE58-C744-487C-8529-5E403829B24E}" dt="2021-08-27T21:23:22.545" v="17634" actId="1076"/>
        <pc:sldMkLst>
          <pc:docMk/>
          <pc:sldMk cId="2773367745" sldId="2145705951"/>
        </pc:sldMkLst>
        <pc:spChg chg="add del mod">
          <ac:chgData name="Erick Moore" userId="96a732b2-26bb-45da-b8ee-37851dfdb22e" providerId="ADAL" clId="{421EFE58-C744-487C-8529-5E403829B24E}" dt="2021-08-27T19:51:56.080" v="11614" actId="478"/>
          <ac:spMkLst>
            <pc:docMk/>
            <pc:sldMk cId="2773367745" sldId="2145705951"/>
            <ac:spMk id="13" creationId="{115C2EF4-3BE7-41F6-95C6-3A702A6D4E11}"/>
          </ac:spMkLst>
        </pc:spChg>
        <pc:spChg chg="mod">
          <ac:chgData name="Erick Moore" userId="96a732b2-26bb-45da-b8ee-37851dfdb22e" providerId="ADAL" clId="{421EFE58-C744-487C-8529-5E403829B24E}" dt="2021-08-27T21:23:22.545" v="17634" actId="1076"/>
          <ac:spMkLst>
            <pc:docMk/>
            <pc:sldMk cId="2773367745" sldId="2145705951"/>
            <ac:spMk id="17" creationId="{6C888C00-E318-43FB-A80C-54A8EA42D2C3}"/>
          </ac:spMkLst>
        </pc:spChg>
        <pc:spChg chg="mod">
          <ac:chgData name="Erick Moore" userId="96a732b2-26bb-45da-b8ee-37851dfdb22e" providerId="ADAL" clId="{421EFE58-C744-487C-8529-5E403829B24E}" dt="2021-08-27T14:46:42.708" v="9499" actId="20577"/>
          <ac:spMkLst>
            <pc:docMk/>
            <pc:sldMk cId="2773367745" sldId="2145705951"/>
            <ac:spMk id="27" creationId="{C3D7BFB0-2FEE-42AE-8273-78D9586CAA0C}"/>
          </ac:spMkLst>
        </pc:spChg>
        <pc:grpChg chg="del">
          <ac:chgData name="Erick Moore" userId="96a732b2-26bb-45da-b8ee-37851dfdb22e" providerId="ADAL" clId="{421EFE58-C744-487C-8529-5E403829B24E}" dt="2021-08-27T19:50:26.273" v="11608" actId="478"/>
          <ac:grpSpMkLst>
            <pc:docMk/>
            <pc:sldMk cId="2773367745" sldId="2145705951"/>
            <ac:grpSpMk id="6" creationId="{D604B4CA-7459-4EAC-A5C7-52F8F493FF58}"/>
          </ac:grpSpMkLst>
        </pc:grpChg>
        <pc:picChg chg="add mod">
          <ac:chgData name="Erick Moore" userId="96a732b2-26bb-45da-b8ee-37851dfdb22e" providerId="ADAL" clId="{421EFE58-C744-487C-8529-5E403829B24E}" dt="2021-08-27T19:52:16.669" v="11618" actId="1076"/>
          <ac:picMkLst>
            <pc:docMk/>
            <pc:sldMk cId="2773367745" sldId="2145705951"/>
            <ac:picMk id="14" creationId="{D65A6CF6-658D-44AB-9C55-4A63C131D131}"/>
          </ac:picMkLst>
        </pc:picChg>
      </pc:sldChg>
      <pc:sldChg chg="addSp delSp modSp mod modAnim modNotesTx">
        <pc:chgData name="Erick Moore" userId="96a732b2-26bb-45da-b8ee-37851dfdb22e" providerId="ADAL" clId="{421EFE58-C744-487C-8529-5E403829B24E}" dt="2021-08-27T18:19:56.832" v="9800" actId="20577"/>
        <pc:sldMkLst>
          <pc:docMk/>
          <pc:sldMk cId="673241381" sldId="2145705952"/>
        </pc:sldMkLst>
        <pc:spChg chg="mod">
          <ac:chgData name="Erick Moore" userId="96a732b2-26bb-45da-b8ee-37851dfdb22e" providerId="ADAL" clId="{421EFE58-C744-487C-8529-5E403829B24E}" dt="2021-08-27T18:19:56.832" v="9800" actId="20577"/>
          <ac:spMkLst>
            <pc:docMk/>
            <pc:sldMk cId="673241381" sldId="2145705952"/>
            <ac:spMk id="17" creationId="{6C888C00-E318-43FB-A80C-54A8EA42D2C3}"/>
          </ac:spMkLst>
        </pc:spChg>
        <pc:spChg chg="mod">
          <ac:chgData name="Erick Moore" userId="96a732b2-26bb-45da-b8ee-37851dfdb22e" providerId="ADAL" clId="{421EFE58-C744-487C-8529-5E403829B24E}" dt="2021-08-27T18:10:11.720" v="9543" actId="20577"/>
          <ac:spMkLst>
            <pc:docMk/>
            <pc:sldMk cId="673241381" sldId="2145705952"/>
            <ac:spMk id="27" creationId="{C3D7BFB0-2FEE-42AE-8273-78D9586CAA0C}"/>
          </ac:spMkLst>
        </pc:spChg>
        <pc:grpChg chg="del">
          <ac:chgData name="Erick Moore" userId="96a732b2-26bb-45da-b8ee-37851dfdb22e" providerId="ADAL" clId="{421EFE58-C744-487C-8529-5E403829B24E}" dt="2021-08-27T18:10:22.205" v="9544" actId="478"/>
          <ac:grpSpMkLst>
            <pc:docMk/>
            <pc:sldMk cId="673241381" sldId="2145705952"/>
            <ac:grpSpMk id="6" creationId="{D604B4CA-7459-4EAC-A5C7-52F8F493FF58}"/>
          </ac:grpSpMkLst>
        </pc:grpChg>
        <pc:picChg chg="add mod">
          <ac:chgData name="Erick Moore" userId="96a732b2-26bb-45da-b8ee-37851dfdb22e" providerId="ADAL" clId="{421EFE58-C744-487C-8529-5E403829B24E}" dt="2021-08-27T18:12:14.600" v="9623" actId="1076"/>
          <ac:picMkLst>
            <pc:docMk/>
            <pc:sldMk cId="673241381" sldId="2145705952"/>
            <ac:picMk id="13" creationId="{1DAD837C-58EF-499A-8FF4-60E3761AA273}"/>
          </ac:picMkLst>
        </pc:picChg>
      </pc:sldChg>
      <pc:sldChg chg="delSp modSp mod modTransition">
        <pc:chgData name="Erick Moore" userId="96a732b2-26bb-45da-b8ee-37851dfdb22e" providerId="ADAL" clId="{421EFE58-C744-487C-8529-5E403829B24E}" dt="2021-08-27T19:24:21.974" v="10793"/>
        <pc:sldMkLst>
          <pc:docMk/>
          <pc:sldMk cId="3308341552" sldId="2145705953"/>
        </pc:sldMkLst>
        <pc:spChg chg="del">
          <ac:chgData name="Erick Moore" userId="96a732b2-26bb-45da-b8ee-37851dfdb22e" providerId="ADAL" clId="{421EFE58-C744-487C-8529-5E403829B24E}" dt="2021-08-27T18:33:26.005" v="9952" actId="478"/>
          <ac:spMkLst>
            <pc:docMk/>
            <pc:sldMk cId="3308341552" sldId="2145705953"/>
            <ac:spMk id="9" creationId="{858B04AE-75A2-4FC4-B3B1-411F3E49A071}"/>
          </ac:spMkLst>
        </pc:spChg>
        <pc:spChg chg="del mod">
          <ac:chgData name="Erick Moore" userId="96a732b2-26bb-45da-b8ee-37851dfdb22e" providerId="ADAL" clId="{421EFE58-C744-487C-8529-5E403829B24E}" dt="2021-08-27T18:33:02.860" v="9949" actId="478"/>
          <ac:spMkLst>
            <pc:docMk/>
            <pc:sldMk cId="3308341552" sldId="2145705953"/>
            <ac:spMk id="29" creationId="{D693649C-8682-4A82-9350-B16B76D56128}"/>
          </ac:spMkLst>
        </pc:spChg>
        <pc:spChg chg="mod">
          <ac:chgData name="Erick Moore" userId="96a732b2-26bb-45da-b8ee-37851dfdb22e" providerId="ADAL" clId="{421EFE58-C744-487C-8529-5E403829B24E}" dt="2021-08-27T19:24:21.974" v="10793"/>
          <ac:spMkLst>
            <pc:docMk/>
            <pc:sldMk cId="3308341552" sldId="2145705953"/>
            <ac:spMk id="42" creationId="{1D67ACEB-DBC4-4D01-9DF9-D5BDAF5B1629}"/>
          </ac:spMkLst>
        </pc:spChg>
        <pc:grpChg chg="del">
          <ac:chgData name="Erick Moore" userId="96a732b2-26bb-45da-b8ee-37851dfdb22e" providerId="ADAL" clId="{421EFE58-C744-487C-8529-5E403829B24E}" dt="2021-08-27T18:32:05.418" v="9940" actId="478"/>
          <ac:grpSpMkLst>
            <pc:docMk/>
            <pc:sldMk cId="3308341552" sldId="2145705953"/>
            <ac:grpSpMk id="37" creationId="{89524F77-0D4F-4A9F-9CB5-4C146B0A829A}"/>
          </ac:grpSpMkLst>
        </pc:grpChg>
      </pc:sldChg>
      <pc:sldChg chg="addSp delSp modSp mod modTransition modNotesTx">
        <pc:chgData name="Erick Moore" userId="96a732b2-26bb-45da-b8ee-37851dfdb22e" providerId="ADAL" clId="{421EFE58-C744-487C-8529-5E403829B24E}" dt="2021-08-27T19:34:27.442" v="11462" actId="20577"/>
        <pc:sldMkLst>
          <pc:docMk/>
          <pc:sldMk cId="2659890212" sldId="2145705954"/>
        </pc:sldMkLst>
        <pc:spChg chg="add del mod">
          <ac:chgData name="Erick Moore" userId="96a732b2-26bb-45da-b8ee-37851dfdb22e" providerId="ADAL" clId="{421EFE58-C744-487C-8529-5E403829B24E}" dt="2021-08-27T18:37:10.791" v="9963" actId="478"/>
          <ac:spMkLst>
            <pc:docMk/>
            <pc:sldMk cId="2659890212" sldId="2145705954"/>
            <ac:spMk id="3" creationId="{368A287C-6B09-45D3-9103-3F10CC0B74C3}"/>
          </ac:spMkLst>
        </pc:spChg>
        <pc:spChg chg="add mod">
          <ac:chgData name="Erick Moore" userId="96a732b2-26bb-45da-b8ee-37851dfdb22e" providerId="ADAL" clId="{421EFE58-C744-487C-8529-5E403829B24E}" dt="2021-08-27T19:24:21.974" v="10793"/>
          <ac:spMkLst>
            <pc:docMk/>
            <pc:sldMk cId="2659890212" sldId="2145705954"/>
            <ac:spMk id="4" creationId="{BAC471FA-6080-4CB7-A954-328B3B32A5F0}"/>
          </ac:spMkLst>
        </pc:spChg>
        <pc:spChg chg="del mod">
          <ac:chgData name="Erick Moore" userId="96a732b2-26bb-45da-b8ee-37851dfdb22e" providerId="ADAL" clId="{421EFE58-C744-487C-8529-5E403829B24E}" dt="2021-08-27T18:35:59.497" v="9958" actId="478"/>
          <ac:spMkLst>
            <pc:docMk/>
            <pc:sldMk cId="2659890212" sldId="2145705954"/>
            <ac:spMk id="42" creationId="{1D67ACEB-DBC4-4D01-9DF9-D5BDAF5B1629}"/>
          </ac:spMkLst>
        </pc:spChg>
      </pc:sldChg>
      <pc:sldChg chg="modSp del mod">
        <pc:chgData name="Erick Moore" userId="96a732b2-26bb-45da-b8ee-37851dfdb22e" providerId="ADAL" clId="{421EFE58-C744-487C-8529-5E403829B24E}" dt="2021-08-27T18:37:36.074" v="9966" actId="2696"/>
        <pc:sldMkLst>
          <pc:docMk/>
          <pc:sldMk cId="3429565648" sldId="2145705955"/>
        </pc:sldMkLst>
        <pc:spChg chg="mod">
          <ac:chgData name="Erick Moore" userId="96a732b2-26bb-45da-b8ee-37851dfdb22e" providerId="ADAL" clId="{421EFE58-C744-487C-8529-5E403829B24E}" dt="2021-08-27T18:34:32.049" v="9957" actId="207"/>
          <ac:spMkLst>
            <pc:docMk/>
            <pc:sldMk cId="3429565648" sldId="2145705955"/>
            <ac:spMk id="42" creationId="{1D67ACEB-DBC4-4D01-9DF9-D5BDAF5B1629}"/>
          </ac:spMkLst>
        </pc:spChg>
      </pc:sldChg>
      <pc:sldChg chg="modSp mod modTransition modNotesTx">
        <pc:chgData name="Erick Moore" userId="96a732b2-26bb-45da-b8ee-37851dfdb22e" providerId="ADAL" clId="{421EFE58-C744-487C-8529-5E403829B24E}" dt="2021-08-27T20:33:14.364" v="13524" actId="20577"/>
        <pc:sldMkLst>
          <pc:docMk/>
          <pc:sldMk cId="1785097919" sldId="2145705956"/>
        </pc:sldMkLst>
        <pc:spChg chg="mod">
          <ac:chgData name="Erick Moore" userId="96a732b2-26bb-45da-b8ee-37851dfdb22e" providerId="ADAL" clId="{421EFE58-C744-487C-8529-5E403829B24E}" dt="2021-08-27T19:24:21.974" v="10793"/>
          <ac:spMkLst>
            <pc:docMk/>
            <pc:sldMk cId="1785097919" sldId="2145705956"/>
            <ac:spMk id="4" creationId="{BAC471FA-6080-4CB7-A954-328B3B32A5F0}"/>
          </ac:spMkLst>
        </pc:spChg>
      </pc:sldChg>
      <pc:sldChg chg="modSp mod modTransition modNotesTx">
        <pc:chgData name="Erick Moore" userId="96a732b2-26bb-45da-b8ee-37851dfdb22e" providerId="ADAL" clId="{421EFE58-C744-487C-8529-5E403829B24E}" dt="2021-08-27T20:40:23.846" v="14293" actId="20577"/>
        <pc:sldMkLst>
          <pc:docMk/>
          <pc:sldMk cId="1724365694" sldId="2145705957"/>
        </pc:sldMkLst>
        <pc:spChg chg="mod">
          <ac:chgData name="Erick Moore" userId="96a732b2-26bb-45da-b8ee-37851dfdb22e" providerId="ADAL" clId="{421EFE58-C744-487C-8529-5E403829B24E}" dt="2021-08-27T19:24:21.974" v="10793"/>
          <ac:spMkLst>
            <pc:docMk/>
            <pc:sldMk cId="1724365694" sldId="2145705957"/>
            <ac:spMk id="4" creationId="{BAC471FA-6080-4CB7-A954-328B3B32A5F0}"/>
          </ac:spMkLst>
        </pc:spChg>
      </pc:sldChg>
      <pc:sldChg chg="modSp mod modTransition modNotesTx">
        <pc:chgData name="Erick Moore" userId="96a732b2-26bb-45da-b8ee-37851dfdb22e" providerId="ADAL" clId="{421EFE58-C744-487C-8529-5E403829B24E}" dt="2021-08-27T20:42:49.452" v="14394" actId="20577"/>
        <pc:sldMkLst>
          <pc:docMk/>
          <pc:sldMk cId="748225634" sldId="2145705958"/>
        </pc:sldMkLst>
        <pc:spChg chg="mod">
          <ac:chgData name="Erick Moore" userId="96a732b2-26bb-45da-b8ee-37851dfdb22e" providerId="ADAL" clId="{421EFE58-C744-487C-8529-5E403829B24E}" dt="2021-08-27T19:24:21.974" v="10793"/>
          <ac:spMkLst>
            <pc:docMk/>
            <pc:sldMk cId="748225634" sldId="2145705958"/>
            <ac:spMk id="4" creationId="{BAC471FA-6080-4CB7-A954-328B3B32A5F0}"/>
          </ac:spMkLst>
        </pc:spChg>
      </pc:sldChg>
      <pc:sldChg chg="modSp mod modTransition modNotesTx">
        <pc:chgData name="Erick Moore" userId="96a732b2-26bb-45da-b8ee-37851dfdb22e" providerId="ADAL" clId="{421EFE58-C744-487C-8529-5E403829B24E}" dt="2021-08-27T20:54:04.810" v="16102" actId="20577"/>
        <pc:sldMkLst>
          <pc:docMk/>
          <pc:sldMk cId="1410583238" sldId="2145705959"/>
        </pc:sldMkLst>
        <pc:spChg chg="mod">
          <ac:chgData name="Erick Moore" userId="96a732b2-26bb-45da-b8ee-37851dfdb22e" providerId="ADAL" clId="{421EFE58-C744-487C-8529-5E403829B24E}" dt="2021-08-27T19:24:21.974" v="10793"/>
          <ac:spMkLst>
            <pc:docMk/>
            <pc:sldMk cId="1410583238" sldId="2145705959"/>
            <ac:spMk id="4" creationId="{BAC471FA-6080-4CB7-A954-328B3B32A5F0}"/>
          </ac:spMkLst>
        </pc:spChg>
      </pc:sldChg>
      <pc:sldChg chg="modSp mod modTransition modNotesTx">
        <pc:chgData name="Erick Moore" userId="96a732b2-26bb-45da-b8ee-37851dfdb22e" providerId="ADAL" clId="{421EFE58-C744-487C-8529-5E403829B24E}" dt="2021-08-27T21:01:00.452" v="16519" actId="20577"/>
        <pc:sldMkLst>
          <pc:docMk/>
          <pc:sldMk cId="1316817330" sldId="2145705960"/>
        </pc:sldMkLst>
        <pc:spChg chg="mod">
          <ac:chgData name="Erick Moore" userId="96a732b2-26bb-45da-b8ee-37851dfdb22e" providerId="ADAL" clId="{421EFE58-C744-487C-8529-5E403829B24E}" dt="2021-08-27T19:24:21.974" v="10793"/>
          <ac:spMkLst>
            <pc:docMk/>
            <pc:sldMk cId="1316817330" sldId="2145705960"/>
            <ac:spMk id="4" creationId="{BAC471FA-6080-4CB7-A954-328B3B32A5F0}"/>
          </ac:spMkLst>
        </pc:spChg>
      </pc:sldChg>
      <pc:sldChg chg="modSp mod modTransition modNotesTx">
        <pc:chgData name="Erick Moore" userId="96a732b2-26bb-45da-b8ee-37851dfdb22e" providerId="ADAL" clId="{421EFE58-C744-487C-8529-5E403829B24E}" dt="2021-08-27T21:03:45.672" v="17092" actId="5793"/>
        <pc:sldMkLst>
          <pc:docMk/>
          <pc:sldMk cId="2059233690" sldId="2145705961"/>
        </pc:sldMkLst>
        <pc:spChg chg="mod">
          <ac:chgData name="Erick Moore" userId="96a732b2-26bb-45da-b8ee-37851dfdb22e" providerId="ADAL" clId="{421EFE58-C744-487C-8529-5E403829B24E}" dt="2021-08-27T19:24:21.974" v="10793"/>
          <ac:spMkLst>
            <pc:docMk/>
            <pc:sldMk cId="2059233690" sldId="2145705961"/>
            <ac:spMk id="4" creationId="{BAC471FA-6080-4CB7-A954-328B3B32A5F0}"/>
          </ac:spMkLst>
        </pc:spChg>
      </pc:sldChg>
      <pc:sldChg chg="modSp mod modTransition modNotesTx">
        <pc:chgData name="Erick Moore" userId="96a732b2-26bb-45da-b8ee-37851dfdb22e" providerId="ADAL" clId="{421EFE58-C744-487C-8529-5E403829B24E}" dt="2021-08-27T21:09:41.450" v="17378" actId="20577"/>
        <pc:sldMkLst>
          <pc:docMk/>
          <pc:sldMk cId="606394771" sldId="2145705962"/>
        </pc:sldMkLst>
        <pc:spChg chg="mod">
          <ac:chgData name="Erick Moore" userId="96a732b2-26bb-45da-b8ee-37851dfdb22e" providerId="ADAL" clId="{421EFE58-C744-487C-8529-5E403829B24E}" dt="2021-08-27T19:24:21.974" v="10793"/>
          <ac:spMkLst>
            <pc:docMk/>
            <pc:sldMk cId="606394771" sldId="2145705962"/>
            <ac:spMk id="4" creationId="{BAC471FA-6080-4CB7-A954-328B3B32A5F0}"/>
          </ac:spMkLst>
        </pc:spChg>
      </pc:sldChg>
      <pc:sldChg chg="addSp delSp modSp mod modAnim modNotesTx">
        <pc:chgData name="Erick Moore" userId="96a732b2-26bb-45da-b8ee-37851dfdb22e" providerId="ADAL" clId="{421EFE58-C744-487C-8529-5E403829B24E}" dt="2021-08-27T20:55:06.123" v="16111" actId="20577"/>
        <pc:sldMkLst>
          <pc:docMk/>
          <pc:sldMk cId="2399568738" sldId="2145705963"/>
        </pc:sldMkLst>
        <pc:spChg chg="del">
          <ac:chgData name="Erick Moore" userId="96a732b2-26bb-45da-b8ee-37851dfdb22e" providerId="ADAL" clId="{421EFE58-C744-487C-8529-5E403829B24E}" dt="2021-08-27T18:48:38.865" v="10048" actId="478"/>
          <ac:spMkLst>
            <pc:docMk/>
            <pc:sldMk cId="2399568738" sldId="2145705963"/>
            <ac:spMk id="12" creationId="{D4A4B365-969C-4E07-B3F3-051EC04D6D66}"/>
          </ac:spMkLst>
        </pc:spChg>
        <pc:spChg chg="del mod">
          <ac:chgData name="Erick Moore" userId="96a732b2-26bb-45da-b8ee-37851dfdb22e" providerId="ADAL" clId="{421EFE58-C744-487C-8529-5E403829B24E}" dt="2021-08-27T18:48:43.352" v="10052" actId="478"/>
          <ac:spMkLst>
            <pc:docMk/>
            <pc:sldMk cId="2399568738" sldId="2145705963"/>
            <ac:spMk id="13" creationId="{9842D80A-03D5-4CBC-9D42-827B49129289}"/>
          </ac:spMkLst>
        </pc:spChg>
        <pc:spChg chg="del">
          <ac:chgData name="Erick Moore" userId="96a732b2-26bb-45da-b8ee-37851dfdb22e" providerId="ADAL" clId="{421EFE58-C744-487C-8529-5E403829B24E}" dt="2021-08-27T18:48:38.865" v="10048" actId="478"/>
          <ac:spMkLst>
            <pc:docMk/>
            <pc:sldMk cId="2399568738" sldId="2145705963"/>
            <ac:spMk id="14" creationId="{88DE1766-3CBA-4F96-84CE-06F3F312819B}"/>
          </ac:spMkLst>
        </pc:spChg>
        <pc:spChg chg="add mod">
          <ac:chgData name="Erick Moore" userId="96a732b2-26bb-45da-b8ee-37851dfdb22e" providerId="ADAL" clId="{421EFE58-C744-487C-8529-5E403829B24E}" dt="2021-08-27T19:05:50.507" v="10096" actId="164"/>
          <ac:spMkLst>
            <pc:docMk/>
            <pc:sldMk cId="2399568738" sldId="2145705963"/>
            <ac:spMk id="14" creationId="{CAD14538-B1C5-47CD-BCA6-699523E551C7}"/>
          </ac:spMkLst>
        </pc:spChg>
        <pc:spChg chg="del">
          <ac:chgData name="Erick Moore" userId="96a732b2-26bb-45da-b8ee-37851dfdb22e" providerId="ADAL" clId="{421EFE58-C744-487C-8529-5E403829B24E}" dt="2021-08-27T18:48:38.865" v="10048" actId="478"/>
          <ac:spMkLst>
            <pc:docMk/>
            <pc:sldMk cId="2399568738" sldId="2145705963"/>
            <ac:spMk id="18" creationId="{EB85DA7D-C197-423C-A741-CF66476708BA}"/>
          </ac:spMkLst>
        </pc:spChg>
        <pc:spChg chg="del">
          <ac:chgData name="Erick Moore" userId="96a732b2-26bb-45da-b8ee-37851dfdb22e" providerId="ADAL" clId="{421EFE58-C744-487C-8529-5E403829B24E}" dt="2021-08-27T18:48:38.865" v="10048" actId="478"/>
          <ac:spMkLst>
            <pc:docMk/>
            <pc:sldMk cId="2399568738" sldId="2145705963"/>
            <ac:spMk id="20" creationId="{7417BA9B-2AEB-43CB-8520-2C589DFEE178}"/>
          </ac:spMkLst>
        </pc:spChg>
        <pc:spChg chg="add mod">
          <ac:chgData name="Erick Moore" userId="96a732b2-26bb-45da-b8ee-37851dfdb22e" providerId="ADAL" clId="{421EFE58-C744-487C-8529-5E403829B24E}" dt="2021-08-27T19:17:24.510" v="10200" actId="164"/>
          <ac:spMkLst>
            <pc:docMk/>
            <pc:sldMk cId="2399568738" sldId="2145705963"/>
            <ac:spMk id="25" creationId="{9D5E8719-C92E-4802-A89C-2C2C4A57C1FE}"/>
          </ac:spMkLst>
        </pc:spChg>
        <pc:spChg chg="mod">
          <ac:chgData name="Erick Moore" userId="96a732b2-26bb-45da-b8ee-37851dfdb22e" providerId="ADAL" clId="{421EFE58-C744-487C-8529-5E403829B24E}" dt="2021-08-27T18:48:35.285" v="10047" actId="1076"/>
          <ac:spMkLst>
            <pc:docMk/>
            <pc:sldMk cId="2399568738" sldId="2145705963"/>
            <ac:spMk id="27" creationId="{C3D7BFB0-2FEE-42AE-8273-78D9586CAA0C}"/>
          </ac:spMkLst>
        </pc:spChg>
        <pc:spChg chg="del">
          <ac:chgData name="Erick Moore" userId="96a732b2-26bb-45da-b8ee-37851dfdb22e" providerId="ADAL" clId="{421EFE58-C744-487C-8529-5E403829B24E}" dt="2021-08-27T18:48:38.865" v="10048" actId="478"/>
          <ac:spMkLst>
            <pc:docMk/>
            <pc:sldMk cId="2399568738" sldId="2145705963"/>
            <ac:spMk id="28" creationId="{F96A5723-82EF-406F-B172-1B591C911480}"/>
          </ac:spMkLst>
        </pc:spChg>
        <pc:spChg chg="add mod">
          <ac:chgData name="Erick Moore" userId="96a732b2-26bb-45da-b8ee-37851dfdb22e" providerId="ADAL" clId="{421EFE58-C744-487C-8529-5E403829B24E}" dt="2021-08-27T19:18:09.074" v="10204" actId="164"/>
          <ac:spMkLst>
            <pc:docMk/>
            <pc:sldMk cId="2399568738" sldId="2145705963"/>
            <ac:spMk id="29" creationId="{0BE2F569-166A-4F04-8144-4D4294B7FF9A}"/>
          </ac:spMkLst>
        </pc:spChg>
        <pc:spChg chg="mod">
          <ac:chgData name="Erick Moore" userId="96a732b2-26bb-45da-b8ee-37851dfdb22e" providerId="ADAL" clId="{421EFE58-C744-487C-8529-5E403829B24E}" dt="2021-08-27T19:16:57.053" v="10199" actId="14826"/>
          <ac:spMkLst>
            <pc:docMk/>
            <pc:sldMk cId="2399568738" sldId="2145705963"/>
            <ac:spMk id="36" creationId="{2901362C-C659-472B-87D2-EB22B4EE1816}"/>
          </ac:spMkLst>
        </pc:spChg>
        <pc:spChg chg="add mod">
          <ac:chgData name="Erick Moore" userId="96a732b2-26bb-45da-b8ee-37851dfdb22e" providerId="ADAL" clId="{421EFE58-C744-487C-8529-5E403829B24E}" dt="2021-08-27T19:18:41.211" v="10209" actId="164"/>
          <ac:spMkLst>
            <pc:docMk/>
            <pc:sldMk cId="2399568738" sldId="2145705963"/>
            <ac:spMk id="39" creationId="{DE54F5F0-00F4-4090-A5E3-BF507218B8E9}"/>
          </ac:spMkLst>
        </pc:spChg>
        <pc:spChg chg="add mod">
          <ac:chgData name="Erick Moore" userId="96a732b2-26bb-45da-b8ee-37851dfdb22e" providerId="ADAL" clId="{421EFE58-C744-487C-8529-5E403829B24E}" dt="2021-08-27T19:17:24.510" v="10200" actId="164"/>
          <ac:spMkLst>
            <pc:docMk/>
            <pc:sldMk cId="2399568738" sldId="2145705963"/>
            <ac:spMk id="48" creationId="{0381D7B0-3885-43A6-8BCC-9CA9FCCFA8FA}"/>
          </ac:spMkLst>
        </pc:spChg>
        <pc:spChg chg="add mod">
          <ac:chgData name="Erick Moore" userId="96a732b2-26bb-45da-b8ee-37851dfdb22e" providerId="ADAL" clId="{421EFE58-C744-487C-8529-5E403829B24E}" dt="2021-08-27T19:17:31.658" v="10201" actId="164"/>
          <ac:spMkLst>
            <pc:docMk/>
            <pc:sldMk cId="2399568738" sldId="2145705963"/>
            <ac:spMk id="50" creationId="{44C4ADBB-ACC3-43B1-9BC4-C449FC5F9FDC}"/>
          </ac:spMkLst>
        </pc:spChg>
        <pc:spChg chg="add mod">
          <ac:chgData name="Erick Moore" userId="96a732b2-26bb-45da-b8ee-37851dfdb22e" providerId="ADAL" clId="{421EFE58-C744-487C-8529-5E403829B24E}" dt="2021-08-27T19:17:31.658" v="10201" actId="164"/>
          <ac:spMkLst>
            <pc:docMk/>
            <pc:sldMk cId="2399568738" sldId="2145705963"/>
            <ac:spMk id="53" creationId="{73B297A5-9F8C-477B-A514-593081076A9E}"/>
          </ac:spMkLst>
        </pc:spChg>
        <pc:spChg chg="del">
          <ac:chgData name="Erick Moore" userId="96a732b2-26bb-45da-b8ee-37851dfdb22e" providerId="ADAL" clId="{421EFE58-C744-487C-8529-5E403829B24E}" dt="2021-08-27T18:51:27.423" v="10061" actId="478"/>
          <ac:spMkLst>
            <pc:docMk/>
            <pc:sldMk cId="2399568738" sldId="2145705963"/>
            <ac:spMk id="56" creationId="{A8E817D7-122B-467A-AC1C-E84BABA88765}"/>
          </ac:spMkLst>
        </pc:spChg>
        <pc:spChg chg="del">
          <ac:chgData name="Erick Moore" userId="96a732b2-26bb-45da-b8ee-37851dfdb22e" providerId="ADAL" clId="{421EFE58-C744-487C-8529-5E403829B24E}" dt="2021-08-27T18:48:38.865" v="10048" actId="478"/>
          <ac:spMkLst>
            <pc:docMk/>
            <pc:sldMk cId="2399568738" sldId="2145705963"/>
            <ac:spMk id="65" creationId="{4AC47D64-5044-4248-A761-7F7DC896630F}"/>
          </ac:spMkLst>
        </pc:spChg>
        <pc:spChg chg="del">
          <ac:chgData name="Erick Moore" userId="96a732b2-26bb-45da-b8ee-37851dfdb22e" providerId="ADAL" clId="{421EFE58-C744-487C-8529-5E403829B24E}" dt="2021-08-27T18:48:38.865" v="10048" actId="478"/>
          <ac:spMkLst>
            <pc:docMk/>
            <pc:sldMk cId="2399568738" sldId="2145705963"/>
            <ac:spMk id="78" creationId="{50E29A94-B2E5-44C3-9D60-14C191BBE55F}"/>
          </ac:spMkLst>
        </pc:spChg>
        <pc:spChg chg="del">
          <ac:chgData name="Erick Moore" userId="96a732b2-26bb-45da-b8ee-37851dfdb22e" providerId="ADAL" clId="{421EFE58-C744-487C-8529-5E403829B24E}" dt="2021-08-27T18:48:38.865" v="10048" actId="478"/>
          <ac:spMkLst>
            <pc:docMk/>
            <pc:sldMk cId="2399568738" sldId="2145705963"/>
            <ac:spMk id="79" creationId="{9654B180-1802-4B13-8BFD-6E1B0EBA07E8}"/>
          </ac:spMkLst>
        </pc:spChg>
        <pc:spChg chg="del">
          <ac:chgData name="Erick Moore" userId="96a732b2-26bb-45da-b8ee-37851dfdb22e" providerId="ADAL" clId="{421EFE58-C744-487C-8529-5E403829B24E}" dt="2021-08-27T18:48:38.865" v="10048" actId="478"/>
          <ac:spMkLst>
            <pc:docMk/>
            <pc:sldMk cId="2399568738" sldId="2145705963"/>
            <ac:spMk id="80" creationId="{0DFBB600-612E-4C68-BABC-6A88A79D1923}"/>
          </ac:spMkLst>
        </pc:spChg>
        <pc:spChg chg="del">
          <ac:chgData name="Erick Moore" userId="96a732b2-26bb-45da-b8ee-37851dfdb22e" providerId="ADAL" clId="{421EFE58-C744-487C-8529-5E403829B24E}" dt="2021-08-27T18:48:38.865" v="10048" actId="478"/>
          <ac:spMkLst>
            <pc:docMk/>
            <pc:sldMk cId="2399568738" sldId="2145705963"/>
            <ac:spMk id="127" creationId="{B0362FBD-F599-4D9B-927A-94E231B6E330}"/>
          </ac:spMkLst>
        </pc:spChg>
        <pc:grpChg chg="add mod">
          <ac:chgData name="Erick Moore" userId="96a732b2-26bb-45da-b8ee-37851dfdb22e" providerId="ADAL" clId="{421EFE58-C744-487C-8529-5E403829B24E}" dt="2021-08-27T19:18:09.074" v="10204" actId="164"/>
          <ac:grpSpMkLst>
            <pc:docMk/>
            <pc:sldMk cId="2399568738" sldId="2145705963"/>
            <ac:grpSpMk id="15" creationId="{8B0501D4-8108-49E5-A430-937BFFF9663A}"/>
          </ac:grpSpMkLst>
        </pc:grpChg>
        <pc:grpChg chg="add mod">
          <ac:chgData name="Erick Moore" userId="96a732b2-26bb-45da-b8ee-37851dfdb22e" providerId="ADAL" clId="{421EFE58-C744-487C-8529-5E403829B24E}" dt="2021-08-27T19:17:24.510" v="10200" actId="164"/>
          <ac:grpSpMkLst>
            <pc:docMk/>
            <pc:sldMk cId="2399568738" sldId="2145705963"/>
            <ac:grpSpMk id="18" creationId="{A7C18E18-A47A-4480-82A5-4E2B1BCE0F40}"/>
          </ac:grpSpMkLst>
        </pc:grpChg>
        <pc:grpChg chg="add mod">
          <ac:chgData name="Erick Moore" userId="96a732b2-26bb-45da-b8ee-37851dfdb22e" providerId="ADAL" clId="{421EFE58-C744-487C-8529-5E403829B24E}" dt="2021-08-27T19:17:31.658" v="10201" actId="164"/>
          <ac:grpSpMkLst>
            <pc:docMk/>
            <pc:sldMk cId="2399568738" sldId="2145705963"/>
            <ac:grpSpMk id="19" creationId="{6CD3CB5D-9CA1-4AF7-ADD5-228FE12480C8}"/>
          </ac:grpSpMkLst>
        </pc:grpChg>
        <pc:grpChg chg="add mod">
          <ac:chgData name="Erick Moore" userId="96a732b2-26bb-45da-b8ee-37851dfdb22e" providerId="ADAL" clId="{421EFE58-C744-487C-8529-5E403829B24E}" dt="2021-08-27T19:18:09.074" v="10204" actId="164"/>
          <ac:grpSpMkLst>
            <pc:docMk/>
            <pc:sldMk cId="2399568738" sldId="2145705963"/>
            <ac:grpSpMk id="20" creationId="{85606B7E-AF7F-4188-8D18-1A98E9304B90}"/>
          </ac:grpSpMkLst>
        </pc:grpChg>
        <pc:grpChg chg="add mod">
          <ac:chgData name="Erick Moore" userId="96a732b2-26bb-45da-b8ee-37851dfdb22e" providerId="ADAL" clId="{421EFE58-C744-487C-8529-5E403829B24E}" dt="2021-08-27T19:18:41.211" v="10209" actId="164"/>
          <ac:grpSpMkLst>
            <pc:docMk/>
            <pc:sldMk cId="2399568738" sldId="2145705963"/>
            <ac:grpSpMk id="21" creationId="{4A895CCB-835C-4D44-9497-F127AA0045ED}"/>
          </ac:grpSpMkLst>
        </pc:grpChg>
        <pc:grpChg chg="add mod">
          <ac:chgData name="Erick Moore" userId="96a732b2-26bb-45da-b8ee-37851dfdb22e" providerId="ADAL" clId="{421EFE58-C744-487C-8529-5E403829B24E}" dt="2021-08-27T19:18:41.211" v="10209" actId="164"/>
          <ac:grpSpMkLst>
            <pc:docMk/>
            <pc:sldMk cId="2399568738" sldId="2145705963"/>
            <ac:grpSpMk id="30" creationId="{127D073C-A203-4E53-B931-1F87E40F4786}"/>
          </ac:grpSpMkLst>
        </pc:grpChg>
        <pc:grpChg chg="del">
          <ac:chgData name="Erick Moore" userId="96a732b2-26bb-45da-b8ee-37851dfdb22e" providerId="ADAL" clId="{421EFE58-C744-487C-8529-5E403829B24E}" dt="2021-08-27T18:48:45.686" v="10054" actId="478"/>
          <ac:grpSpMkLst>
            <pc:docMk/>
            <pc:sldMk cId="2399568738" sldId="2145705963"/>
            <ac:grpSpMk id="67" creationId="{2A4A57E5-F1B8-4619-893B-7C19FCD9CA8C}"/>
          </ac:grpSpMkLst>
        </pc:grpChg>
        <pc:grpChg chg="del">
          <ac:chgData name="Erick Moore" userId="96a732b2-26bb-45da-b8ee-37851dfdb22e" providerId="ADAL" clId="{421EFE58-C744-487C-8529-5E403829B24E}" dt="2021-08-27T18:48:45.686" v="10054" actId="478"/>
          <ac:grpSpMkLst>
            <pc:docMk/>
            <pc:sldMk cId="2399568738" sldId="2145705963"/>
            <ac:grpSpMk id="68" creationId="{CB1C77F3-4C76-46EC-9495-08132B8C528D}"/>
          </ac:grpSpMkLst>
        </pc:grpChg>
        <pc:grpChg chg="del">
          <ac:chgData name="Erick Moore" userId="96a732b2-26bb-45da-b8ee-37851dfdb22e" providerId="ADAL" clId="{421EFE58-C744-487C-8529-5E403829B24E}" dt="2021-08-27T18:48:45.686" v="10054" actId="478"/>
          <ac:grpSpMkLst>
            <pc:docMk/>
            <pc:sldMk cId="2399568738" sldId="2145705963"/>
            <ac:grpSpMk id="71" creationId="{E8F7E6DD-2610-469C-A3F6-A9D7652F5F52}"/>
          </ac:grpSpMkLst>
        </pc:grpChg>
        <pc:picChg chg="add mod">
          <ac:chgData name="Erick Moore" userId="96a732b2-26bb-45da-b8ee-37851dfdb22e" providerId="ADAL" clId="{421EFE58-C744-487C-8529-5E403829B24E}" dt="2021-08-27T19:05:50.507" v="10096" actId="164"/>
          <ac:picMkLst>
            <pc:docMk/>
            <pc:sldMk cId="2399568738" sldId="2145705963"/>
            <ac:picMk id="3" creationId="{F222A1D5-158B-470E-A074-5259D79571F1}"/>
          </ac:picMkLst>
        </pc:picChg>
        <pc:picChg chg="del">
          <ac:chgData name="Erick Moore" userId="96a732b2-26bb-45da-b8ee-37851dfdb22e" providerId="ADAL" clId="{421EFE58-C744-487C-8529-5E403829B24E}" dt="2021-08-27T18:48:38.865" v="10048" actId="478"/>
          <ac:picMkLst>
            <pc:docMk/>
            <pc:sldMk cId="2399568738" sldId="2145705963"/>
            <ac:picMk id="4" creationId="{650FC1DB-ABB8-4999-8CDB-30E53F13B7A1}"/>
          </ac:picMkLst>
        </pc:picChg>
        <pc:picChg chg="add mod">
          <ac:chgData name="Erick Moore" userId="96a732b2-26bb-45da-b8ee-37851dfdb22e" providerId="ADAL" clId="{421EFE58-C744-487C-8529-5E403829B24E}" dt="2021-08-27T19:05:50.507" v="10096" actId="164"/>
          <ac:picMkLst>
            <pc:docMk/>
            <pc:sldMk cId="2399568738" sldId="2145705963"/>
            <ac:picMk id="5" creationId="{BDDD8D72-8BA2-4079-A077-3FF567B3559C}"/>
          </ac:picMkLst>
        </pc:picChg>
        <pc:picChg chg="add mod">
          <ac:chgData name="Erick Moore" userId="96a732b2-26bb-45da-b8ee-37851dfdb22e" providerId="ADAL" clId="{421EFE58-C744-487C-8529-5E403829B24E}" dt="2021-08-27T19:05:50.507" v="10096" actId="164"/>
          <ac:picMkLst>
            <pc:docMk/>
            <pc:sldMk cId="2399568738" sldId="2145705963"/>
            <ac:picMk id="7" creationId="{FE2003B4-BB1B-497E-A2B1-CD3D480911BC}"/>
          </ac:picMkLst>
        </pc:picChg>
        <pc:picChg chg="del">
          <ac:chgData name="Erick Moore" userId="96a732b2-26bb-45da-b8ee-37851dfdb22e" providerId="ADAL" clId="{421EFE58-C744-487C-8529-5E403829B24E}" dt="2021-08-27T18:48:38.865" v="10048" actId="478"/>
          <ac:picMkLst>
            <pc:docMk/>
            <pc:sldMk cId="2399568738" sldId="2145705963"/>
            <ac:picMk id="8" creationId="{4C74D349-ABBE-4F05-AC49-9B8C3E418E8C}"/>
          </ac:picMkLst>
        </pc:picChg>
        <pc:picChg chg="del">
          <ac:chgData name="Erick Moore" userId="96a732b2-26bb-45da-b8ee-37851dfdb22e" providerId="ADAL" clId="{421EFE58-C744-487C-8529-5E403829B24E}" dt="2021-08-27T18:48:38.865" v="10048" actId="478"/>
          <ac:picMkLst>
            <pc:docMk/>
            <pc:sldMk cId="2399568738" sldId="2145705963"/>
            <ac:picMk id="9" creationId="{1EDC2A69-5154-48E1-BAF7-B7D1DD348279}"/>
          </ac:picMkLst>
        </pc:picChg>
        <pc:picChg chg="add del mod">
          <ac:chgData name="Erick Moore" userId="96a732b2-26bb-45da-b8ee-37851dfdb22e" providerId="ADAL" clId="{421EFE58-C744-487C-8529-5E403829B24E}" dt="2021-08-27T19:03:21.192" v="10073" actId="478"/>
          <ac:picMkLst>
            <pc:docMk/>
            <pc:sldMk cId="2399568738" sldId="2145705963"/>
            <ac:picMk id="9" creationId="{3F9E8C83-AC94-45DE-8397-FA5EE95C97FB}"/>
          </ac:picMkLst>
        </pc:picChg>
        <pc:picChg chg="del">
          <ac:chgData name="Erick Moore" userId="96a732b2-26bb-45da-b8ee-37851dfdb22e" providerId="ADAL" clId="{421EFE58-C744-487C-8529-5E403829B24E}" dt="2021-08-27T18:48:39.970" v="10049" actId="478"/>
          <ac:picMkLst>
            <pc:docMk/>
            <pc:sldMk cId="2399568738" sldId="2145705963"/>
            <ac:picMk id="10" creationId="{4556E43A-6EA8-44B8-9E70-6B28F02470C9}"/>
          </ac:picMkLst>
        </pc:picChg>
        <pc:picChg chg="add mod">
          <ac:chgData name="Erick Moore" userId="96a732b2-26bb-45da-b8ee-37851dfdb22e" providerId="ADAL" clId="{421EFE58-C744-487C-8529-5E403829B24E}" dt="2021-08-27T19:05:50.507" v="10096" actId="164"/>
          <ac:picMkLst>
            <pc:docMk/>
            <pc:sldMk cId="2399568738" sldId="2145705963"/>
            <ac:picMk id="11" creationId="{64469DE0-D1B0-4084-8920-C6E40BEFB326}"/>
          </ac:picMkLst>
        </pc:picChg>
        <pc:picChg chg="add mod">
          <ac:chgData name="Erick Moore" userId="96a732b2-26bb-45da-b8ee-37851dfdb22e" providerId="ADAL" clId="{421EFE58-C744-487C-8529-5E403829B24E}" dt="2021-08-27T19:05:50.507" v="10096" actId="164"/>
          <ac:picMkLst>
            <pc:docMk/>
            <pc:sldMk cId="2399568738" sldId="2145705963"/>
            <ac:picMk id="13" creationId="{A30ECACC-0DD0-4933-8AFF-6B3BCF8A9660}"/>
          </ac:picMkLst>
        </pc:picChg>
        <pc:picChg chg="del">
          <ac:chgData name="Erick Moore" userId="96a732b2-26bb-45da-b8ee-37851dfdb22e" providerId="ADAL" clId="{421EFE58-C744-487C-8529-5E403829B24E}" dt="2021-08-27T18:48:38.865" v="10048" actId="478"/>
          <ac:picMkLst>
            <pc:docMk/>
            <pc:sldMk cId="2399568738" sldId="2145705963"/>
            <ac:picMk id="17" creationId="{13471EAA-0828-48AB-995E-FE0D69B76DA0}"/>
          </ac:picMkLst>
        </pc:picChg>
        <pc:picChg chg="del">
          <ac:chgData name="Erick Moore" userId="96a732b2-26bb-45da-b8ee-37851dfdb22e" providerId="ADAL" clId="{421EFE58-C744-487C-8529-5E403829B24E}" dt="2021-08-27T18:48:38.865" v="10048" actId="478"/>
          <ac:picMkLst>
            <pc:docMk/>
            <pc:sldMk cId="2399568738" sldId="2145705963"/>
            <ac:picMk id="19" creationId="{2D9E7E1C-B41D-4C7F-966D-DED6F7C9FAF2}"/>
          </ac:picMkLst>
        </pc:picChg>
        <pc:picChg chg="add mod">
          <ac:chgData name="Erick Moore" userId="96a732b2-26bb-45da-b8ee-37851dfdb22e" providerId="ADAL" clId="{421EFE58-C744-487C-8529-5E403829B24E}" dt="2021-08-27T19:17:24.510" v="10200" actId="164"/>
          <ac:picMkLst>
            <pc:docMk/>
            <pc:sldMk cId="2399568738" sldId="2145705963"/>
            <ac:picMk id="24" creationId="{1B4DD4B2-0EDE-432D-98DB-2567880AB1A3}"/>
          </ac:picMkLst>
        </pc:picChg>
        <pc:picChg chg="mod">
          <ac:chgData name="Erick Moore" userId="96a732b2-26bb-45da-b8ee-37851dfdb22e" providerId="ADAL" clId="{421EFE58-C744-487C-8529-5E403829B24E}" dt="2021-08-27T19:16:57.053" v="10199" actId="14826"/>
          <ac:picMkLst>
            <pc:docMk/>
            <pc:sldMk cId="2399568738" sldId="2145705963"/>
            <ac:picMk id="31" creationId="{D93D889B-ABC2-40BB-BAC7-19B9320A4566}"/>
          </ac:picMkLst>
        </pc:picChg>
        <pc:picChg chg="mod">
          <ac:chgData name="Erick Moore" userId="96a732b2-26bb-45da-b8ee-37851dfdb22e" providerId="ADAL" clId="{421EFE58-C744-487C-8529-5E403829B24E}" dt="2021-08-27T19:16:57.053" v="10199" actId="14826"/>
          <ac:picMkLst>
            <pc:docMk/>
            <pc:sldMk cId="2399568738" sldId="2145705963"/>
            <ac:picMk id="32" creationId="{462EA308-C3BF-4FFA-95C5-AB734E88EDD4}"/>
          </ac:picMkLst>
        </pc:picChg>
        <pc:picChg chg="mod">
          <ac:chgData name="Erick Moore" userId="96a732b2-26bb-45da-b8ee-37851dfdb22e" providerId="ADAL" clId="{421EFE58-C744-487C-8529-5E403829B24E}" dt="2021-08-27T19:16:57.053" v="10199" actId="14826"/>
          <ac:picMkLst>
            <pc:docMk/>
            <pc:sldMk cId="2399568738" sldId="2145705963"/>
            <ac:picMk id="33" creationId="{A9454B6A-6BBB-4C71-83BF-75BF1855349E}"/>
          </ac:picMkLst>
        </pc:picChg>
        <pc:picChg chg="mod">
          <ac:chgData name="Erick Moore" userId="96a732b2-26bb-45da-b8ee-37851dfdb22e" providerId="ADAL" clId="{421EFE58-C744-487C-8529-5E403829B24E}" dt="2021-08-27T19:16:57.053" v="10199" actId="14826"/>
          <ac:picMkLst>
            <pc:docMk/>
            <pc:sldMk cId="2399568738" sldId="2145705963"/>
            <ac:picMk id="34" creationId="{3E92141E-83B3-42BF-99DB-EA95D57E74C5}"/>
          </ac:picMkLst>
        </pc:picChg>
        <pc:picChg chg="mod">
          <ac:chgData name="Erick Moore" userId="96a732b2-26bb-45da-b8ee-37851dfdb22e" providerId="ADAL" clId="{421EFE58-C744-487C-8529-5E403829B24E}" dt="2021-08-27T19:16:57.053" v="10199" actId="14826"/>
          <ac:picMkLst>
            <pc:docMk/>
            <pc:sldMk cId="2399568738" sldId="2145705963"/>
            <ac:picMk id="35" creationId="{D57E5222-1E7B-4F56-BF74-AE37FAE72358}"/>
          </ac:picMkLst>
        </pc:picChg>
        <pc:picChg chg="del">
          <ac:chgData name="Erick Moore" userId="96a732b2-26bb-45da-b8ee-37851dfdb22e" providerId="ADAL" clId="{421EFE58-C744-487C-8529-5E403829B24E}" dt="2021-08-27T18:51:27.423" v="10061" actId="478"/>
          <ac:picMkLst>
            <pc:docMk/>
            <pc:sldMk cId="2399568738" sldId="2145705963"/>
            <ac:picMk id="46" creationId="{4CF59256-1816-43E4-9CDC-2FE22D21CEDA}"/>
          </ac:picMkLst>
        </pc:picChg>
        <pc:picChg chg="add mod">
          <ac:chgData name="Erick Moore" userId="96a732b2-26bb-45da-b8ee-37851dfdb22e" providerId="ADAL" clId="{421EFE58-C744-487C-8529-5E403829B24E}" dt="2021-08-27T19:17:24.510" v="10200" actId="164"/>
          <ac:picMkLst>
            <pc:docMk/>
            <pc:sldMk cId="2399568738" sldId="2145705963"/>
            <ac:picMk id="47" creationId="{AF9BB3DB-1911-479E-BD81-137D110D1ADD}"/>
          </ac:picMkLst>
        </pc:picChg>
        <pc:picChg chg="add mod">
          <ac:chgData name="Erick Moore" userId="96a732b2-26bb-45da-b8ee-37851dfdb22e" providerId="ADAL" clId="{421EFE58-C744-487C-8529-5E403829B24E}" dt="2021-08-27T19:17:31.658" v="10201" actId="164"/>
          <ac:picMkLst>
            <pc:docMk/>
            <pc:sldMk cId="2399568738" sldId="2145705963"/>
            <ac:picMk id="49" creationId="{7D038000-128C-48DB-B525-76BECBEDABD2}"/>
          </ac:picMkLst>
        </pc:picChg>
        <pc:picChg chg="add mod">
          <ac:chgData name="Erick Moore" userId="96a732b2-26bb-45da-b8ee-37851dfdb22e" providerId="ADAL" clId="{421EFE58-C744-487C-8529-5E403829B24E}" dt="2021-08-27T19:17:31.658" v="10201" actId="164"/>
          <ac:picMkLst>
            <pc:docMk/>
            <pc:sldMk cId="2399568738" sldId="2145705963"/>
            <ac:picMk id="52" creationId="{4B3743ED-588D-4D87-B48B-6465A169A307}"/>
          </ac:picMkLst>
        </pc:picChg>
        <pc:picChg chg="del">
          <ac:chgData name="Erick Moore" userId="96a732b2-26bb-45da-b8ee-37851dfdb22e" providerId="ADAL" clId="{421EFE58-C744-487C-8529-5E403829B24E}" dt="2021-08-27T18:48:38.865" v="10048" actId="478"/>
          <ac:picMkLst>
            <pc:docMk/>
            <pc:sldMk cId="2399568738" sldId="2145705963"/>
            <ac:picMk id="126" creationId="{CA9036ED-A59B-4C78-9499-F2664DD37C06}"/>
          </ac:picMkLst>
        </pc:picChg>
        <pc:cxnChg chg="del mod">
          <ac:chgData name="Erick Moore" userId="96a732b2-26bb-45da-b8ee-37851dfdb22e" providerId="ADAL" clId="{421EFE58-C744-487C-8529-5E403829B24E}" dt="2021-08-27T18:48:38.865" v="10048" actId="478"/>
          <ac:cxnSpMkLst>
            <pc:docMk/>
            <pc:sldMk cId="2399568738" sldId="2145705963"/>
            <ac:cxnSpMk id="3" creationId="{389BC08F-DA72-4738-9C22-D588C7EBFB29}"/>
          </ac:cxnSpMkLst>
        </pc:cxnChg>
        <pc:cxnChg chg="del mod">
          <ac:chgData name="Erick Moore" userId="96a732b2-26bb-45da-b8ee-37851dfdb22e" providerId="ADAL" clId="{421EFE58-C744-487C-8529-5E403829B24E}" dt="2021-08-27T18:48:41.979" v="10051" actId="478"/>
          <ac:cxnSpMkLst>
            <pc:docMk/>
            <pc:sldMk cId="2399568738" sldId="2145705963"/>
            <ac:cxnSpMk id="11" creationId="{9385B120-9047-4E57-80C9-0EEBA1BF13A5}"/>
          </ac:cxnSpMkLst>
        </pc:cxnChg>
        <pc:cxnChg chg="del mod">
          <ac:chgData name="Erick Moore" userId="96a732b2-26bb-45da-b8ee-37851dfdb22e" providerId="ADAL" clId="{421EFE58-C744-487C-8529-5E403829B24E}" dt="2021-08-27T18:48:38.865" v="10048" actId="478"/>
          <ac:cxnSpMkLst>
            <pc:docMk/>
            <pc:sldMk cId="2399568738" sldId="2145705963"/>
            <ac:cxnSpMk id="21" creationId="{8D6CBA31-E671-42BE-AF58-98DBECC98E15}"/>
          </ac:cxnSpMkLst>
        </pc:cxnChg>
        <pc:cxnChg chg="del mod">
          <ac:chgData name="Erick Moore" userId="96a732b2-26bb-45da-b8ee-37851dfdb22e" providerId="ADAL" clId="{421EFE58-C744-487C-8529-5E403829B24E}" dt="2021-08-27T18:48:38.865" v="10048" actId="478"/>
          <ac:cxnSpMkLst>
            <pc:docMk/>
            <pc:sldMk cId="2399568738" sldId="2145705963"/>
            <ac:cxnSpMk id="25" creationId="{0024E89B-C6B6-4C47-AA0E-37344360A194}"/>
          </ac:cxnSpMkLst>
        </pc:cxnChg>
        <pc:cxnChg chg="add mod">
          <ac:chgData name="Erick Moore" userId="96a732b2-26bb-45da-b8ee-37851dfdb22e" providerId="ADAL" clId="{421EFE58-C744-487C-8529-5E403829B24E}" dt="2021-08-27T19:17:24.510" v="10200" actId="164"/>
          <ac:cxnSpMkLst>
            <pc:docMk/>
            <pc:sldMk cId="2399568738" sldId="2145705963"/>
            <ac:cxnSpMk id="26" creationId="{156B5AAE-EF9A-465E-BDCC-46949C4A7FDE}"/>
          </ac:cxnSpMkLst>
        </pc:cxnChg>
        <pc:cxnChg chg="add mod">
          <ac:chgData name="Erick Moore" userId="96a732b2-26bb-45da-b8ee-37851dfdb22e" providerId="ADAL" clId="{421EFE58-C744-487C-8529-5E403829B24E}" dt="2021-08-27T19:18:09.074" v="10204" actId="164"/>
          <ac:cxnSpMkLst>
            <pc:docMk/>
            <pc:sldMk cId="2399568738" sldId="2145705963"/>
            <ac:cxnSpMk id="28" creationId="{DFB9FE1D-BC9E-41EC-AEC7-579BBC774F23}"/>
          </ac:cxnSpMkLst>
        </pc:cxnChg>
        <pc:cxnChg chg="del mod">
          <ac:chgData name="Erick Moore" userId="96a732b2-26bb-45da-b8ee-37851dfdb22e" providerId="ADAL" clId="{421EFE58-C744-487C-8529-5E403829B24E}" dt="2021-08-27T18:48:38.865" v="10048" actId="478"/>
          <ac:cxnSpMkLst>
            <pc:docMk/>
            <pc:sldMk cId="2399568738" sldId="2145705963"/>
            <ac:cxnSpMk id="33" creationId="{ADE1FA6E-F2BF-4B84-8793-713DFC93BFE1}"/>
          </ac:cxnSpMkLst>
        </pc:cxnChg>
        <pc:cxnChg chg="add mod">
          <ac:chgData name="Erick Moore" userId="96a732b2-26bb-45da-b8ee-37851dfdb22e" providerId="ADAL" clId="{421EFE58-C744-487C-8529-5E403829B24E}" dt="2021-08-27T19:18:41.211" v="10209" actId="164"/>
          <ac:cxnSpMkLst>
            <pc:docMk/>
            <pc:sldMk cId="2399568738" sldId="2145705963"/>
            <ac:cxnSpMk id="37" creationId="{8E7191F2-CFD1-4904-AC51-33220B212442}"/>
          </ac:cxnSpMkLst>
        </pc:cxnChg>
        <pc:cxnChg chg="add del mod">
          <ac:chgData name="Erick Moore" userId="96a732b2-26bb-45da-b8ee-37851dfdb22e" providerId="ADAL" clId="{421EFE58-C744-487C-8529-5E403829B24E}" dt="2021-08-27T18:51:11.854" v="10059" actId="478"/>
          <ac:cxnSpMkLst>
            <pc:docMk/>
            <pc:sldMk cId="2399568738" sldId="2145705963"/>
            <ac:cxnSpMk id="51" creationId="{86CA2C7A-9E9D-455A-8165-C7DCA275903C}"/>
          </ac:cxnSpMkLst>
        </pc:cxnChg>
        <pc:cxnChg chg="add mod">
          <ac:chgData name="Erick Moore" userId="96a732b2-26bb-45da-b8ee-37851dfdb22e" providerId="ADAL" clId="{421EFE58-C744-487C-8529-5E403829B24E}" dt="2021-08-27T19:17:31.658" v="10201" actId="164"/>
          <ac:cxnSpMkLst>
            <pc:docMk/>
            <pc:sldMk cId="2399568738" sldId="2145705963"/>
            <ac:cxnSpMk id="54" creationId="{36AD1F6B-FF58-4F7B-9ECC-6558E17F33ED}"/>
          </ac:cxnSpMkLst>
        </pc:cxnChg>
        <pc:cxnChg chg="del mod">
          <ac:chgData name="Erick Moore" userId="96a732b2-26bb-45da-b8ee-37851dfdb22e" providerId="ADAL" clId="{421EFE58-C744-487C-8529-5E403829B24E}" dt="2021-08-27T18:48:44.303" v="10053" actId="478"/>
          <ac:cxnSpMkLst>
            <pc:docMk/>
            <pc:sldMk cId="2399568738" sldId="2145705963"/>
            <ac:cxnSpMk id="83" creationId="{41581BE6-770B-4071-8D3D-232158A7CEBE}"/>
          </ac:cxnSpMkLst>
        </pc:cxnChg>
        <pc:cxnChg chg="del mod">
          <ac:chgData name="Erick Moore" userId="96a732b2-26bb-45da-b8ee-37851dfdb22e" providerId="ADAL" clId="{421EFE58-C744-487C-8529-5E403829B24E}" dt="2021-08-27T18:48:38.865" v="10048" actId="478"/>
          <ac:cxnSpMkLst>
            <pc:docMk/>
            <pc:sldMk cId="2399568738" sldId="2145705963"/>
            <ac:cxnSpMk id="86" creationId="{8B3E33AE-E3B0-4AD3-B89E-7C7B8A093D39}"/>
          </ac:cxnSpMkLst>
        </pc:cxnChg>
        <pc:cxnChg chg="del mod">
          <ac:chgData name="Erick Moore" userId="96a732b2-26bb-45da-b8ee-37851dfdb22e" providerId="ADAL" clId="{421EFE58-C744-487C-8529-5E403829B24E}" dt="2021-08-27T18:48:47.458" v="10055" actId="478"/>
          <ac:cxnSpMkLst>
            <pc:docMk/>
            <pc:sldMk cId="2399568738" sldId="2145705963"/>
            <ac:cxnSpMk id="89" creationId="{61B77B97-F8B2-4206-892E-231365A78AB0}"/>
          </ac:cxnSpMkLst>
        </pc:cxnChg>
        <pc:cxnChg chg="del mod">
          <ac:chgData name="Erick Moore" userId="96a732b2-26bb-45da-b8ee-37851dfdb22e" providerId="ADAL" clId="{421EFE58-C744-487C-8529-5E403829B24E}" dt="2021-08-27T18:48:38.865" v="10048" actId="478"/>
          <ac:cxnSpMkLst>
            <pc:docMk/>
            <pc:sldMk cId="2399568738" sldId="2145705963"/>
            <ac:cxnSpMk id="93" creationId="{7D70EA44-E1FB-48F7-AB15-30835CB93E84}"/>
          </ac:cxnSpMkLst>
        </pc:cxnChg>
        <pc:cxnChg chg="del mod">
          <ac:chgData name="Erick Moore" userId="96a732b2-26bb-45da-b8ee-37851dfdb22e" providerId="ADAL" clId="{421EFE58-C744-487C-8529-5E403829B24E}" dt="2021-08-27T18:48:47.458" v="10055" actId="478"/>
          <ac:cxnSpMkLst>
            <pc:docMk/>
            <pc:sldMk cId="2399568738" sldId="2145705963"/>
            <ac:cxnSpMk id="100" creationId="{A31B1039-7912-4A4B-B8C0-92238AE7F64D}"/>
          </ac:cxnSpMkLst>
        </pc:cxnChg>
        <pc:cxnChg chg="del mod">
          <ac:chgData name="Erick Moore" userId="96a732b2-26bb-45da-b8ee-37851dfdb22e" providerId="ADAL" clId="{421EFE58-C744-487C-8529-5E403829B24E}" dt="2021-08-27T18:48:38.865" v="10048" actId="478"/>
          <ac:cxnSpMkLst>
            <pc:docMk/>
            <pc:sldMk cId="2399568738" sldId="2145705963"/>
            <ac:cxnSpMk id="104" creationId="{692DA063-B990-42A0-8429-252A6D06C857}"/>
          </ac:cxnSpMkLst>
        </pc:cxnChg>
        <pc:cxnChg chg="del mod">
          <ac:chgData name="Erick Moore" userId="96a732b2-26bb-45da-b8ee-37851dfdb22e" providerId="ADAL" clId="{421EFE58-C744-487C-8529-5E403829B24E}" dt="2021-08-27T18:48:45.686" v="10054" actId="478"/>
          <ac:cxnSpMkLst>
            <pc:docMk/>
            <pc:sldMk cId="2399568738" sldId="2145705963"/>
            <ac:cxnSpMk id="112" creationId="{439BCF7B-9DDD-4665-A82F-8031BB254450}"/>
          </ac:cxnSpMkLst>
        </pc:cxnChg>
        <pc:cxnChg chg="del mod">
          <ac:chgData name="Erick Moore" userId="96a732b2-26bb-45da-b8ee-37851dfdb22e" providerId="ADAL" clId="{421EFE58-C744-487C-8529-5E403829B24E}" dt="2021-08-27T18:48:38.865" v="10048" actId="478"/>
          <ac:cxnSpMkLst>
            <pc:docMk/>
            <pc:sldMk cId="2399568738" sldId="2145705963"/>
            <ac:cxnSpMk id="116" creationId="{F5B5136B-B422-46F9-B44D-419FE0626EF7}"/>
          </ac:cxnSpMkLst>
        </pc:cxnChg>
        <pc:cxnChg chg="del mod">
          <ac:chgData name="Erick Moore" userId="96a732b2-26bb-45da-b8ee-37851dfdb22e" providerId="ADAL" clId="{421EFE58-C744-487C-8529-5E403829B24E}" dt="2021-08-27T18:48:38.865" v="10048" actId="478"/>
          <ac:cxnSpMkLst>
            <pc:docMk/>
            <pc:sldMk cId="2399568738" sldId="2145705963"/>
            <ac:cxnSpMk id="128" creationId="{EA66CA51-D25B-4D37-8EDD-EBCD2FEF0E06}"/>
          </ac:cxnSpMkLst>
        </pc:cxnChg>
        <pc:cxnChg chg="del">
          <ac:chgData name="Erick Moore" userId="96a732b2-26bb-45da-b8ee-37851dfdb22e" providerId="ADAL" clId="{421EFE58-C744-487C-8529-5E403829B24E}" dt="2021-08-27T18:48:38.865" v="10048" actId="478"/>
          <ac:cxnSpMkLst>
            <pc:docMk/>
            <pc:sldMk cId="2399568738" sldId="2145705963"/>
            <ac:cxnSpMk id="144" creationId="{EF032D9D-48FD-4CED-8A8B-459AEEB8103E}"/>
          </ac:cxnSpMkLst>
        </pc:cxnChg>
      </pc:sldChg>
      <pc:sldChg chg="modSp mod modNotesTx">
        <pc:chgData name="Erick Moore" userId="96a732b2-26bb-45da-b8ee-37851dfdb22e" providerId="ADAL" clId="{421EFE58-C744-487C-8529-5E403829B24E}" dt="2021-08-27T21:10:13.830" v="17450" actId="20577"/>
        <pc:sldMkLst>
          <pc:docMk/>
          <pc:sldMk cId="2194834744" sldId="2145705964"/>
        </pc:sldMkLst>
        <pc:spChg chg="mod">
          <ac:chgData name="Erick Moore" userId="96a732b2-26bb-45da-b8ee-37851dfdb22e" providerId="ADAL" clId="{421EFE58-C744-487C-8529-5E403829B24E}" dt="2021-08-27T19:24:44.179" v="10795" actId="207"/>
          <ac:spMkLst>
            <pc:docMk/>
            <pc:sldMk cId="2194834744" sldId="2145705964"/>
            <ac:spMk id="4" creationId="{BAC471FA-6080-4CB7-A954-328B3B32A5F0}"/>
          </ac:spMkLst>
        </pc:spChg>
      </pc:sldChg>
      <pc:sldChg chg="modSp mod modNotesTx">
        <pc:chgData name="Erick Moore" userId="96a732b2-26bb-45da-b8ee-37851dfdb22e" providerId="ADAL" clId="{421EFE58-C744-487C-8529-5E403829B24E}" dt="2021-08-27T21:11:04.393" v="17482" actId="20577"/>
        <pc:sldMkLst>
          <pc:docMk/>
          <pc:sldMk cId="227069733" sldId="2145705965"/>
        </pc:sldMkLst>
        <pc:spChg chg="mod">
          <ac:chgData name="Erick Moore" userId="96a732b2-26bb-45da-b8ee-37851dfdb22e" providerId="ADAL" clId="{421EFE58-C744-487C-8529-5E403829B24E}" dt="2021-08-27T19:52:38.448" v="11620" actId="207"/>
          <ac:spMkLst>
            <pc:docMk/>
            <pc:sldMk cId="227069733" sldId="2145705965"/>
            <ac:spMk id="4" creationId="{BAC471FA-6080-4CB7-A954-328B3B32A5F0}"/>
          </ac:spMkLst>
        </pc:spChg>
      </pc:sldChg>
      <pc:sldMasterChg chg="del delSldLayout">
        <pc:chgData name="Erick Moore" userId="96a732b2-26bb-45da-b8ee-37851dfdb22e" providerId="ADAL" clId="{421EFE58-C744-487C-8529-5E403829B24E}" dt="2021-08-17T19:09:13.991" v="1684" actId="2696"/>
        <pc:sldMasterMkLst>
          <pc:docMk/>
          <pc:sldMasterMk cId="3032011948" sldId="2147485106"/>
        </pc:sldMasterMkLst>
        <pc:sldLayoutChg chg="del">
          <pc:chgData name="Erick Moore" userId="96a732b2-26bb-45da-b8ee-37851dfdb22e" providerId="ADAL" clId="{421EFE58-C744-487C-8529-5E403829B24E}" dt="2021-08-17T19:09:13.788" v="1645" actId="2696"/>
          <pc:sldLayoutMkLst>
            <pc:docMk/>
            <pc:sldMasterMk cId="3032011948" sldId="2147485106"/>
            <pc:sldLayoutMk cId="507029870" sldId="2147485107"/>
          </pc:sldLayoutMkLst>
        </pc:sldLayoutChg>
        <pc:sldLayoutChg chg="del">
          <pc:chgData name="Erick Moore" userId="96a732b2-26bb-45da-b8ee-37851dfdb22e" providerId="ADAL" clId="{421EFE58-C744-487C-8529-5E403829B24E}" dt="2021-08-17T19:09:13.797" v="1646" actId="2696"/>
          <pc:sldLayoutMkLst>
            <pc:docMk/>
            <pc:sldMasterMk cId="3032011948" sldId="2147485106"/>
            <pc:sldLayoutMk cId="281580106" sldId="2147485108"/>
          </pc:sldLayoutMkLst>
        </pc:sldLayoutChg>
        <pc:sldLayoutChg chg="del">
          <pc:chgData name="Erick Moore" userId="96a732b2-26bb-45da-b8ee-37851dfdb22e" providerId="ADAL" clId="{421EFE58-C744-487C-8529-5E403829B24E}" dt="2021-08-17T19:09:13.802" v="1647" actId="2696"/>
          <pc:sldLayoutMkLst>
            <pc:docMk/>
            <pc:sldMasterMk cId="3032011948" sldId="2147485106"/>
            <pc:sldLayoutMk cId="1722910549" sldId="2147485109"/>
          </pc:sldLayoutMkLst>
        </pc:sldLayoutChg>
        <pc:sldLayoutChg chg="del">
          <pc:chgData name="Erick Moore" userId="96a732b2-26bb-45da-b8ee-37851dfdb22e" providerId="ADAL" clId="{421EFE58-C744-487C-8529-5E403829B24E}" dt="2021-08-17T19:09:13.807" v="1648" actId="2696"/>
          <pc:sldLayoutMkLst>
            <pc:docMk/>
            <pc:sldMasterMk cId="3032011948" sldId="2147485106"/>
            <pc:sldLayoutMk cId="2277326009" sldId="2147485110"/>
          </pc:sldLayoutMkLst>
        </pc:sldLayoutChg>
        <pc:sldLayoutChg chg="del">
          <pc:chgData name="Erick Moore" userId="96a732b2-26bb-45da-b8ee-37851dfdb22e" providerId="ADAL" clId="{421EFE58-C744-487C-8529-5E403829B24E}" dt="2021-08-17T19:09:13.812" v="1649" actId="2696"/>
          <pc:sldLayoutMkLst>
            <pc:docMk/>
            <pc:sldMasterMk cId="3032011948" sldId="2147485106"/>
            <pc:sldLayoutMk cId="2032650786" sldId="2147485111"/>
          </pc:sldLayoutMkLst>
        </pc:sldLayoutChg>
        <pc:sldLayoutChg chg="del">
          <pc:chgData name="Erick Moore" userId="96a732b2-26bb-45da-b8ee-37851dfdb22e" providerId="ADAL" clId="{421EFE58-C744-487C-8529-5E403829B24E}" dt="2021-08-17T19:09:13.817" v="1650" actId="2696"/>
          <pc:sldLayoutMkLst>
            <pc:docMk/>
            <pc:sldMasterMk cId="3032011948" sldId="2147485106"/>
            <pc:sldLayoutMk cId="2376054357" sldId="2147485112"/>
          </pc:sldLayoutMkLst>
        </pc:sldLayoutChg>
        <pc:sldLayoutChg chg="del">
          <pc:chgData name="Erick Moore" userId="96a732b2-26bb-45da-b8ee-37851dfdb22e" providerId="ADAL" clId="{421EFE58-C744-487C-8529-5E403829B24E}" dt="2021-08-17T19:09:13.836" v="1653" actId="2696"/>
          <pc:sldLayoutMkLst>
            <pc:docMk/>
            <pc:sldMasterMk cId="3032011948" sldId="2147485106"/>
            <pc:sldLayoutMk cId="867833888" sldId="2147485113"/>
          </pc:sldLayoutMkLst>
        </pc:sldLayoutChg>
        <pc:sldLayoutChg chg="del">
          <pc:chgData name="Erick Moore" userId="96a732b2-26bb-45da-b8ee-37851dfdb22e" providerId="ADAL" clId="{421EFE58-C744-487C-8529-5E403829B24E}" dt="2021-08-17T19:09:13.842" v="1654" actId="2696"/>
          <pc:sldLayoutMkLst>
            <pc:docMk/>
            <pc:sldMasterMk cId="3032011948" sldId="2147485106"/>
            <pc:sldLayoutMk cId="1916476718" sldId="2147485114"/>
          </pc:sldLayoutMkLst>
        </pc:sldLayoutChg>
        <pc:sldLayoutChg chg="del">
          <pc:chgData name="Erick Moore" userId="96a732b2-26bb-45da-b8ee-37851dfdb22e" providerId="ADAL" clId="{421EFE58-C744-487C-8529-5E403829B24E}" dt="2021-08-17T19:09:13.869" v="1659" actId="2696"/>
          <pc:sldLayoutMkLst>
            <pc:docMk/>
            <pc:sldMasterMk cId="3032011948" sldId="2147485106"/>
            <pc:sldLayoutMk cId="868608756" sldId="2147485115"/>
          </pc:sldLayoutMkLst>
        </pc:sldLayoutChg>
        <pc:sldLayoutChg chg="del">
          <pc:chgData name="Erick Moore" userId="96a732b2-26bb-45da-b8ee-37851dfdb22e" providerId="ADAL" clId="{421EFE58-C744-487C-8529-5E403829B24E}" dt="2021-08-17T19:09:13.874" v="1660" actId="2696"/>
          <pc:sldLayoutMkLst>
            <pc:docMk/>
            <pc:sldMasterMk cId="3032011948" sldId="2147485106"/>
            <pc:sldLayoutMk cId="3148486051" sldId="2147485116"/>
          </pc:sldLayoutMkLst>
        </pc:sldLayoutChg>
        <pc:sldLayoutChg chg="del">
          <pc:chgData name="Erick Moore" userId="96a732b2-26bb-45da-b8ee-37851dfdb22e" providerId="ADAL" clId="{421EFE58-C744-487C-8529-5E403829B24E}" dt="2021-08-17T19:09:13.878" v="1661" actId="2696"/>
          <pc:sldLayoutMkLst>
            <pc:docMk/>
            <pc:sldMasterMk cId="3032011948" sldId="2147485106"/>
            <pc:sldLayoutMk cId="1952094809" sldId="2147485117"/>
          </pc:sldLayoutMkLst>
        </pc:sldLayoutChg>
        <pc:sldLayoutChg chg="del">
          <pc:chgData name="Erick Moore" userId="96a732b2-26bb-45da-b8ee-37851dfdb22e" providerId="ADAL" clId="{421EFE58-C744-487C-8529-5E403829B24E}" dt="2021-08-17T19:09:13.883" v="1662" actId="2696"/>
          <pc:sldLayoutMkLst>
            <pc:docMk/>
            <pc:sldMasterMk cId="3032011948" sldId="2147485106"/>
            <pc:sldLayoutMk cId="2531157790" sldId="2147485118"/>
          </pc:sldLayoutMkLst>
        </pc:sldLayoutChg>
        <pc:sldLayoutChg chg="del">
          <pc:chgData name="Erick Moore" userId="96a732b2-26bb-45da-b8ee-37851dfdb22e" providerId="ADAL" clId="{421EFE58-C744-487C-8529-5E403829B24E}" dt="2021-08-17T19:09:13.888" v="1663" actId="2696"/>
          <pc:sldLayoutMkLst>
            <pc:docMk/>
            <pc:sldMasterMk cId="3032011948" sldId="2147485106"/>
            <pc:sldLayoutMk cId="2949130866" sldId="2147485119"/>
          </pc:sldLayoutMkLst>
        </pc:sldLayoutChg>
        <pc:sldLayoutChg chg="del">
          <pc:chgData name="Erick Moore" userId="96a732b2-26bb-45da-b8ee-37851dfdb22e" providerId="ADAL" clId="{421EFE58-C744-487C-8529-5E403829B24E}" dt="2021-08-17T19:09:13.893" v="1664" actId="2696"/>
          <pc:sldLayoutMkLst>
            <pc:docMk/>
            <pc:sldMasterMk cId="3032011948" sldId="2147485106"/>
            <pc:sldLayoutMk cId="3204676844" sldId="2147485120"/>
          </pc:sldLayoutMkLst>
        </pc:sldLayoutChg>
        <pc:sldLayoutChg chg="del">
          <pc:chgData name="Erick Moore" userId="96a732b2-26bb-45da-b8ee-37851dfdb22e" providerId="ADAL" clId="{421EFE58-C744-487C-8529-5E403829B24E}" dt="2021-08-17T19:09:13.898" v="1665" actId="2696"/>
          <pc:sldLayoutMkLst>
            <pc:docMk/>
            <pc:sldMasterMk cId="3032011948" sldId="2147485106"/>
            <pc:sldLayoutMk cId="4126290992" sldId="2147485121"/>
          </pc:sldLayoutMkLst>
        </pc:sldLayoutChg>
        <pc:sldLayoutChg chg="del">
          <pc:chgData name="Erick Moore" userId="96a732b2-26bb-45da-b8ee-37851dfdb22e" providerId="ADAL" clId="{421EFE58-C744-487C-8529-5E403829B24E}" dt="2021-08-17T19:09:13.902" v="1666" actId="2696"/>
          <pc:sldLayoutMkLst>
            <pc:docMk/>
            <pc:sldMasterMk cId="3032011948" sldId="2147485106"/>
            <pc:sldLayoutMk cId="1093041226" sldId="2147485122"/>
          </pc:sldLayoutMkLst>
        </pc:sldLayoutChg>
        <pc:sldLayoutChg chg="del">
          <pc:chgData name="Erick Moore" userId="96a732b2-26bb-45da-b8ee-37851dfdb22e" providerId="ADAL" clId="{421EFE58-C744-487C-8529-5E403829B24E}" dt="2021-08-17T19:09:13.907" v="1667" actId="2696"/>
          <pc:sldLayoutMkLst>
            <pc:docMk/>
            <pc:sldMasterMk cId="3032011948" sldId="2147485106"/>
            <pc:sldLayoutMk cId="4071976840" sldId="2147485123"/>
          </pc:sldLayoutMkLst>
        </pc:sldLayoutChg>
        <pc:sldLayoutChg chg="del">
          <pc:chgData name="Erick Moore" userId="96a732b2-26bb-45da-b8ee-37851dfdb22e" providerId="ADAL" clId="{421EFE58-C744-487C-8529-5E403829B24E}" dt="2021-08-17T19:09:13.911" v="1668" actId="2696"/>
          <pc:sldLayoutMkLst>
            <pc:docMk/>
            <pc:sldMasterMk cId="3032011948" sldId="2147485106"/>
            <pc:sldLayoutMk cId="2975310654" sldId="2147485124"/>
          </pc:sldLayoutMkLst>
        </pc:sldLayoutChg>
        <pc:sldLayoutChg chg="del">
          <pc:chgData name="Erick Moore" userId="96a732b2-26bb-45da-b8ee-37851dfdb22e" providerId="ADAL" clId="{421EFE58-C744-487C-8529-5E403829B24E}" dt="2021-08-17T19:09:13.916" v="1669" actId="2696"/>
          <pc:sldLayoutMkLst>
            <pc:docMk/>
            <pc:sldMasterMk cId="3032011948" sldId="2147485106"/>
            <pc:sldLayoutMk cId="2158267454" sldId="2147485125"/>
          </pc:sldLayoutMkLst>
        </pc:sldLayoutChg>
        <pc:sldLayoutChg chg="del">
          <pc:chgData name="Erick Moore" userId="96a732b2-26bb-45da-b8ee-37851dfdb22e" providerId="ADAL" clId="{421EFE58-C744-487C-8529-5E403829B24E}" dt="2021-08-17T19:09:13.921" v="1670" actId="2696"/>
          <pc:sldLayoutMkLst>
            <pc:docMk/>
            <pc:sldMasterMk cId="3032011948" sldId="2147485106"/>
            <pc:sldLayoutMk cId="3630562803" sldId="2147485126"/>
          </pc:sldLayoutMkLst>
        </pc:sldLayoutChg>
        <pc:sldLayoutChg chg="del">
          <pc:chgData name="Erick Moore" userId="96a732b2-26bb-45da-b8ee-37851dfdb22e" providerId="ADAL" clId="{421EFE58-C744-487C-8529-5E403829B24E}" dt="2021-08-17T19:09:13.925" v="1671" actId="2696"/>
          <pc:sldLayoutMkLst>
            <pc:docMk/>
            <pc:sldMasterMk cId="3032011948" sldId="2147485106"/>
            <pc:sldLayoutMk cId="260939605" sldId="2147485127"/>
          </pc:sldLayoutMkLst>
        </pc:sldLayoutChg>
        <pc:sldLayoutChg chg="del">
          <pc:chgData name="Erick Moore" userId="96a732b2-26bb-45da-b8ee-37851dfdb22e" providerId="ADAL" clId="{421EFE58-C744-487C-8529-5E403829B24E}" dt="2021-08-17T19:09:13.930" v="1672" actId="2696"/>
          <pc:sldLayoutMkLst>
            <pc:docMk/>
            <pc:sldMasterMk cId="3032011948" sldId="2147485106"/>
            <pc:sldLayoutMk cId="390279416" sldId="2147485128"/>
          </pc:sldLayoutMkLst>
        </pc:sldLayoutChg>
        <pc:sldLayoutChg chg="del">
          <pc:chgData name="Erick Moore" userId="96a732b2-26bb-45da-b8ee-37851dfdb22e" providerId="ADAL" clId="{421EFE58-C744-487C-8529-5E403829B24E}" dt="2021-08-17T19:09:13.935" v="1673" actId="2696"/>
          <pc:sldLayoutMkLst>
            <pc:docMk/>
            <pc:sldMasterMk cId="3032011948" sldId="2147485106"/>
            <pc:sldLayoutMk cId="3562736367" sldId="2147485129"/>
          </pc:sldLayoutMkLst>
        </pc:sldLayoutChg>
        <pc:sldLayoutChg chg="del">
          <pc:chgData name="Erick Moore" userId="96a732b2-26bb-45da-b8ee-37851dfdb22e" providerId="ADAL" clId="{421EFE58-C744-487C-8529-5E403829B24E}" dt="2021-08-17T19:09:13.939" v="1674" actId="2696"/>
          <pc:sldLayoutMkLst>
            <pc:docMk/>
            <pc:sldMasterMk cId="3032011948" sldId="2147485106"/>
            <pc:sldLayoutMk cId="606782392" sldId="2147485130"/>
          </pc:sldLayoutMkLst>
        </pc:sldLayoutChg>
        <pc:sldLayoutChg chg="del">
          <pc:chgData name="Erick Moore" userId="96a732b2-26bb-45da-b8ee-37851dfdb22e" providerId="ADAL" clId="{421EFE58-C744-487C-8529-5E403829B24E}" dt="2021-08-17T19:09:13.943" v="1675" actId="2696"/>
          <pc:sldLayoutMkLst>
            <pc:docMk/>
            <pc:sldMasterMk cId="3032011948" sldId="2147485106"/>
            <pc:sldLayoutMk cId="3979092255" sldId="2147485131"/>
          </pc:sldLayoutMkLst>
        </pc:sldLayoutChg>
        <pc:sldLayoutChg chg="del">
          <pc:chgData name="Erick Moore" userId="96a732b2-26bb-45da-b8ee-37851dfdb22e" providerId="ADAL" clId="{421EFE58-C744-487C-8529-5E403829B24E}" dt="2021-08-17T19:09:13.948" v="1676" actId="2696"/>
          <pc:sldLayoutMkLst>
            <pc:docMk/>
            <pc:sldMasterMk cId="3032011948" sldId="2147485106"/>
            <pc:sldLayoutMk cId="3730072622" sldId="2147485132"/>
          </pc:sldLayoutMkLst>
        </pc:sldLayoutChg>
        <pc:sldLayoutChg chg="del">
          <pc:chgData name="Erick Moore" userId="96a732b2-26bb-45da-b8ee-37851dfdb22e" providerId="ADAL" clId="{421EFE58-C744-487C-8529-5E403829B24E}" dt="2021-08-17T19:09:13.955" v="1677" actId="2696"/>
          <pc:sldLayoutMkLst>
            <pc:docMk/>
            <pc:sldMasterMk cId="3032011948" sldId="2147485106"/>
            <pc:sldLayoutMk cId="645903168" sldId="2147485133"/>
          </pc:sldLayoutMkLst>
        </pc:sldLayoutChg>
        <pc:sldLayoutChg chg="del">
          <pc:chgData name="Erick Moore" userId="96a732b2-26bb-45da-b8ee-37851dfdb22e" providerId="ADAL" clId="{421EFE58-C744-487C-8529-5E403829B24E}" dt="2021-08-17T19:09:13.961" v="1678" actId="2696"/>
          <pc:sldLayoutMkLst>
            <pc:docMk/>
            <pc:sldMasterMk cId="3032011948" sldId="2147485106"/>
            <pc:sldLayoutMk cId="1503021962" sldId="2147485134"/>
          </pc:sldLayoutMkLst>
        </pc:sldLayoutChg>
        <pc:sldLayoutChg chg="del">
          <pc:chgData name="Erick Moore" userId="96a732b2-26bb-45da-b8ee-37851dfdb22e" providerId="ADAL" clId="{421EFE58-C744-487C-8529-5E403829B24E}" dt="2021-08-17T19:09:13.965" v="1679" actId="2696"/>
          <pc:sldLayoutMkLst>
            <pc:docMk/>
            <pc:sldMasterMk cId="3032011948" sldId="2147485106"/>
            <pc:sldLayoutMk cId="3808762280" sldId="2147485135"/>
          </pc:sldLayoutMkLst>
        </pc:sldLayoutChg>
        <pc:sldLayoutChg chg="del">
          <pc:chgData name="Erick Moore" userId="96a732b2-26bb-45da-b8ee-37851dfdb22e" providerId="ADAL" clId="{421EFE58-C744-487C-8529-5E403829B24E}" dt="2021-08-17T19:09:13.969" v="1680" actId="2696"/>
          <pc:sldLayoutMkLst>
            <pc:docMk/>
            <pc:sldMasterMk cId="3032011948" sldId="2147485106"/>
            <pc:sldLayoutMk cId="2868638598" sldId="2147485136"/>
          </pc:sldLayoutMkLst>
        </pc:sldLayoutChg>
        <pc:sldLayoutChg chg="del">
          <pc:chgData name="Erick Moore" userId="96a732b2-26bb-45da-b8ee-37851dfdb22e" providerId="ADAL" clId="{421EFE58-C744-487C-8529-5E403829B24E}" dt="2021-08-17T19:09:13.974" v="1681" actId="2696"/>
          <pc:sldLayoutMkLst>
            <pc:docMk/>
            <pc:sldMasterMk cId="3032011948" sldId="2147485106"/>
            <pc:sldLayoutMk cId="389106623" sldId="2147485137"/>
          </pc:sldLayoutMkLst>
        </pc:sldLayoutChg>
        <pc:sldLayoutChg chg="del">
          <pc:chgData name="Erick Moore" userId="96a732b2-26bb-45da-b8ee-37851dfdb22e" providerId="ADAL" clId="{421EFE58-C744-487C-8529-5E403829B24E}" dt="2021-08-17T19:09:13.978" v="1682" actId="2696"/>
          <pc:sldLayoutMkLst>
            <pc:docMk/>
            <pc:sldMasterMk cId="3032011948" sldId="2147485106"/>
            <pc:sldLayoutMk cId="4185125560" sldId="2147485138"/>
          </pc:sldLayoutMkLst>
        </pc:sldLayoutChg>
        <pc:sldLayoutChg chg="del">
          <pc:chgData name="Erick Moore" userId="96a732b2-26bb-45da-b8ee-37851dfdb22e" providerId="ADAL" clId="{421EFE58-C744-487C-8529-5E403829B24E}" dt="2021-08-17T19:09:13.831" v="1652" actId="2696"/>
          <pc:sldLayoutMkLst>
            <pc:docMk/>
            <pc:sldMasterMk cId="3032011948" sldId="2147485106"/>
            <pc:sldLayoutMk cId="3305380345" sldId="2147485143"/>
          </pc:sldLayoutMkLst>
        </pc:sldLayoutChg>
        <pc:sldLayoutChg chg="del">
          <pc:chgData name="Erick Moore" userId="96a732b2-26bb-45da-b8ee-37851dfdb22e" providerId="ADAL" clId="{421EFE58-C744-487C-8529-5E403829B24E}" dt="2021-08-17T19:09:13.847" v="1655" actId="2696"/>
          <pc:sldLayoutMkLst>
            <pc:docMk/>
            <pc:sldMasterMk cId="3032011948" sldId="2147485106"/>
            <pc:sldLayoutMk cId="4230162605" sldId="2147485144"/>
          </pc:sldLayoutMkLst>
        </pc:sldLayoutChg>
        <pc:sldLayoutChg chg="del">
          <pc:chgData name="Erick Moore" userId="96a732b2-26bb-45da-b8ee-37851dfdb22e" providerId="ADAL" clId="{421EFE58-C744-487C-8529-5E403829B24E}" dt="2021-08-17T19:09:13.824" v="1651" actId="2696"/>
          <pc:sldLayoutMkLst>
            <pc:docMk/>
            <pc:sldMasterMk cId="3032011948" sldId="2147485106"/>
            <pc:sldLayoutMk cId="4042934911" sldId="2147485145"/>
          </pc:sldLayoutMkLst>
        </pc:sldLayoutChg>
        <pc:sldLayoutChg chg="del">
          <pc:chgData name="Erick Moore" userId="96a732b2-26bb-45da-b8ee-37851dfdb22e" providerId="ADAL" clId="{421EFE58-C744-487C-8529-5E403829B24E}" dt="2021-08-17T19:09:13.853" v="1656" actId="2696"/>
          <pc:sldLayoutMkLst>
            <pc:docMk/>
            <pc:sldMasterMk cId="3032011948" sldId="2147485106"/>
            <pc:sldLayoutMk cId="2028500836" sldId="2147485146"/>
          </pc:sldLayoutMkLst>
        </pc:sldLayoutChg>
        <pc:sldLayoutChg chg="del">
          <pc:chgData name="Erick Moore" userId="96a732b2-26bb-45da-b8ee-37851dfdb22e" providerId="ADAL" clId="{421EFE58-C744-487C-8529-5E403829B24E}" dt="2021-08-17T19:09:13.858" v="1657" actId="2696"/>
          <pc:sldLayoutMkLst>
            <pc:docMk/>
            <pc:sldMasterMk cId="3032011948" sldId="2147485106"/>
            <pc:sldLayoutMk cId="4012017075" sldId="2147485147"/>
          </pc:sldLayoutMkLst>
        </pc:sldLayoutChg>
        <pc:sldLayoutChg chg="del">
          <pc:chgData name="Erick Moore" userId="96a732b2-26bb-45da-b8ee-37851dfdb22e" providerId="ADAL" clId="{421EFE58-C744-487C-8529-5E403829B24E}" dt="2021-08-17T19:09:13.864" v="1658" actId="2696"/>
          <pc:sldLayoutMkLst>
            <pc:docMk/>
            <pc:sldMasterMk cId="3032011948" sldId="2147485106"/>
            <pc:sldLayoutMk cId="1152668458" sldId="2147485285"/>
          </pc:sldLayoutMkLst>
        </pc:sldLayoutChg>
        <pc:sldLayoutChg chg="del">
          <pc:chgData name="Erick Moore" userId="96a732b2-26bb-45da-b8ee-37851dfdb22e" providerId="ADAL" clId="{421EFE58-C744-487C-8529-5E403829B24E}" dt="2021-08-17T19:09:13.982" v="1683" actId="2696"/>
          <pc:sldLayoutMkLst>
            <pc:docMk/>
            <pc:sldMasterMk cId="3032011948" sldId="2147485106"/>
            <pc:sldLayoutMk cId="1249032967" sldId="2147485449"/>
          </pc:sldLayoutMkLst>
        </pc:sldLayoutChg>
      </pc:sldMasterChg>
      <pc:sldMasterChg chg="delSldLayout">
        <pc:chgData name="Erick Moore" userId="96a732b2-26bb-45da-b8ee-37851dfdb22e" providerId="ADAL" clId="{421EFE58-C744-487C-8529-5E403829B24E}" dt="2021-08-17T19:09:37.140" v="1689" actId="2696"/>
        <pc:sldMasterMkLst>
          <pc:docMk/>
          <pc:sldMasterMk cId="2416730903" sldId="2147485286"/>
        </pc:sldMasterMkLst>
        <pc:sldLayoutChg chg="del">
          <pc:chgData name="Erick Moore" userId="96a732b2-26bb-45da-b8ee-37851dfdb22e" providerId="ADAL" clId="{421EFE58-C744-487C-8529-5E403829B24E}" dt="2021-08-17T19:09:32.719" v="1685" actId="2696"/>
          <pc:sldLayoutMkLst>
            <pc:docMk/>
            <pc:sldMasterMk cId="2416730903" sldId="2147485286"/>
            <pc:sldLayoutMk cId="2858431944" sldId="2147485315"/>
          </pc:sldLayoutMkLst>
        </pc:sldLayoutChg>
        <pc:sldLayoutChg chg="del">
          <pc:chgData name="Erick Moore" userId="96a732b2-26bb-45da-b8ee-37851dfdb22e" providerId="ADAL" clId="{421EFE58-C744-487C-8529-5E403829B24E}" dt="2021-08-17T19:09:32.728" v="1686" actId="2696"/>
          <pc:sldLayoutMkLst>
            <pc:docMk/>
            <pc:sldMasterMk cId="2416730903" sldId="2147485286"/>
            <pc:sldLayoutMk cId="255156233" sldId="2147485316"/>
          </pc:sldLayoutMkLst>
        </pc:sldLayoutChg>
        <pc:sldLayoutChg chg="del">
          <pc:chgData name="Erick Moore" userId="96a732b2-26bb-45da-b8ee-37851dfdb22e" providerId="ADAL" clId="{421EFE58-C744-487C-8529-5E403829B24E}" dt="2021-08-17T19:09:32.756" v="1687" actId="2696"/>
          <pc:sldLayoutMkLst>
            <pc:docMk/>
            <pc:sldMasterMk cId="2416730903" sldId="2147485286"/>
            <pc:sldLayoutMk cId="3332164564" sldId="2147485317"/>
          </pc:sldLayoutMkLst>
        </pc:sldLayoutChg>
        <pc:sldLayoutChg chg="del">
          <pc:chgData name="Erick Moore" userId="96a732b2-26bb-45da-b8ee-37851dfdb22e" providerId="ADAL" clId="{421EFE58-C744-487C-8529-5E403829B24E}" dt="2021-08-17T19:09:37.131" v="1688" actId="2696"/>
          <pc:sldLayoutMkLst>
            <pc:docMk/>
            <pc:sldMasterMk cId="2416730903" sldId="2147485286"/>
            <pc:sldLayoutMk cId="2842487509" sldId="2147485318"/>
          </pc:sldLayoutMkLst>
        </pc:sldLayoutChg>
        <pc:sldLayoutChg chg="del">
          <pc:chgData name="Erick Moore" userId="96a732b2-26bb-45da-b8ee-37851dfdb22e" providerId="ADAL" clId="{421EFE58-C744-487C-8529-5E403829B24E}" dt="2021-08-17T19:09:37.140" v="1689" actId="2696"/>
          <pc:sldLayoutMkLst>
            <pc:docMk/>
            <pc:sldMasterMk cId="2416730903" sldId="2147485286"/>
            <pc:sldLayoutMk cId="179656976" sldId="2147485319"/>
          </pc:sldLayoutMkLst>
        </pc:sldLayoutChg>
      </pc:sldMasterChg>
      <pc:sldMasterChg chg="del delSldLayout">
        <pc:chgData name="Erick Moore" userId="96a732b2-26bb-45da-b8ee-37851dfdb22e" providerId="ADAL" clId="{421EFE58-C744-487C-8529-5E403829B24E}" dt="2021-08-17T19:09:57.459" v="1726" actId="2696"/>
        <pc:sldMasterMkLst>
          <pc:docMk/>
          <pc:sldMasterMk cId="1360668912" sldId="2147485327"/>
        </pc:sldMasterMkLst>
        <pc:sldLayoutChg chg="del">
          <pc:chgData name="Erick Moore" userId="96a732b2-26bb-45da-b8ee-37851dfdb22e" providerId="ADAL" clId="{421EFE58-C744-487C-8529-5E403829B24E}" dt="2021-08-17T19:09:57.303" v="1690" actId="2696"/>
          <pc:sldLayoutMkLst>
            <pc:docMk/>
            <pc:sldMasterMk cId="1360668912" sldId="2147485327"/>
            <pc:sldLayoutMk cId="3498397941" sldId="2147485328"/>
          </pc:sldLayoutMkLst>
        </pc:sldLayoutChg>
        <pc:sldLayoutChg chg="del">
          <pc:chgData name="Erick Moore" userId="96a732b2-26bb-45da-b8ee-37851dfdb22e" providerId="ADAL" clId="{421EFE58-C744-487C-8529-5E403829B24E}" dt="2021-08-17T19:09:57.310" v="1691" actId="2696"/>
          <pc:sldLayoutMkLst>
            <pc:docMk/>
            <pc:sldMasterMk cId="1360668912" sldId="2147485327"/>
            <pc:sldLayoutMk cId="3176047405" sldId="2147485329"/>
          </pc:sldLayoutMkLst>
        </pc:sldLayoutChg>
        <pc:sldLayoutChg chg="del">
          <pc:chgData name="Erick Moore" userId="96a732b2-26bb-45da-b8ee-37851dfdb22e" providerId="ADAL" clId="{421EFE58-C744-487C-8529-5E403829B24E}" dt="2021-08-17T19:09:57.315" v="1692" actId="2696"/>
          <pc:sldLayoutMkLst>
            <pc:docMk/>
            <pc:sldMasterMk cId="1360668912" sldId="2147485327"/>
            <pc:sldLayoutMk cId="804533129" sldId="2147485330"/>
          </pc:sldLayoutMkLst>
        </pc:sldLayoutChg>
        <pc:sldLayoutChg chg="del">
          <pc:chgData name="Erick Moore" userId="96a732b2-26bb-45da-b8ee-37851dfdb22e" providerId="ADAL" clId="{421EFE58-C744-487C-8529-5E403829B24E}" dt="2021-08-17T19:09:57.320" v="1693" actId="2696"/>
          <pc:sldLayoutMkLst>
            <pc:docMk/>
            <pc:sldMasterMk cId="1360668912" sldId="2147485327"/>
            <pc:sldLayoutMk cId="3195048385" sldId="2147485331"/>
          </pc:sldLayoutMkLst>
        </pc:sldLayoutChg>
        <pc:sldLayoutChg chg="del">
          <pc:chgData name="Erick Moore" userId="96a732b2-26bb-45da-b8ee-37851dfdb22e" providerId="ADAL" clId="{421EFE58-C744-487C-8529-5E403829B24E}" dt="2021-08-17T19:09:57.324" v="1694" actId="2696"/>
          <pc:sldLayoutMkLst>
            <pc:docMk/>
            <pc:sldMasterMk cId="1360668912" sldId="2147485327"/>
            <pc:sldLayoutMk cId="2205323569" sldId="2147485332"/>
          </pc:sldLayoutMkLst>
        </pc:sldLayoutChg>
        <pc:sldLayoutChg chg="del">
          <pc:chgData name="Erick Moore" userId="96a732b2-26bb-45da-b8ee-37851dfdb22e" providerId="ADAL" clId="{421EFE58-C744-487C-8529-5E403829B24E}" dt="2021-08-17T19:09:57.329" v="1695" actId="2696"/>
          <pc:sldLayoutMkLst>
            <pc:docMk/>
            <pc:sldMasterMk cId="1360668912" sldId="2147485327"/>
            <pc:sldLayoutMk cId="4102523047" sldId="2147485333"/>
          </pc:sldLayoutMkLst>
        </pc:sldLayoutChg>
        <pc:sldLayoutChg chg="del">
          <pc:chgData name="Erick Moore" userId="96a732b2-26bb-45da-b8ee-37851dfdb22e" providerId="ADAL" clId="{421EFE58-C744-487C-8529-5E403829B24E}" dt="2021-08-17T19:09:57.333" v="1696" actId="2696"/>
          <pc:sldLayoutMkLst>
            <pc:docMk/>
            <pc:sldMasterMk cId="1360668912" sldId="2147485327"/>
            <pc:sldLayoutMk cId="722552349" sldId="2147485334"/>
          </pc:sldLayoutMkLst>
        </pc:sldLayoutChg>
        <pc:sldLayoutChg chg="del">
          <pc:chgData name="Erick Moore" userId="96a732b2-26bb-45da-b8ee-37851dfdb22e" providerId="ADAL" clId="{421EFE58-C744-487C-8529-5E403829B24E}" dt="2021-08-17T19:09:57.339" v="1697" actId="2696"/>
          <pc:sldLayoutMkLst>
            <pc:docMk/>
            <pc:sldMasterMk cId="1360668912" sldId="2147485327"/>
            <pc:sldLayoutMk cId="528381110" sldId="2147485335"/>
          </pc:sldLayoutMkLst>
        </pc:sldLayoutChg>
        <pc:sldLayoutChg chg="del">
          <pc:chgData name="Erick Moore" userId="96a732b2-26bb-45da-b8ee-37851dfdb22e" providerId="ADAL" clId="{421EFE58-C744-487C-8529-5E403829B24E}" dt="2021-08-17T19:09:57.343" v="1698" actId="2696"/>
          <pc:sldLayoutMkLst>
            <pc:docMk/>
            <pc:sldMasterMk cId="1360668912" sldId="2147485327"/>
            <pc:sldLayoutMk cId="2750010661" sldId="2147485336"/>
          </pc:sldLayoutMkLst>
        </pc:sldLayoutChg>
        <pc:sldLayoutChg chg="del">
          <pc:chgData name="Erick Moore" userId="96a732b2-26bb-45da-b8ee-37851dfdb22e" providerId="ADAL" clId="{421EFE58-C744-487C-8529-5E403829B24E}" dt="2021-08-17T19:09:57.348" v="1699" actId="2696"/>
          <pc:sldLayoutMkLst>
            <pc:docMk/>
            <pc:sldMasterMk cId="1360668912" sldId="2147485327"/>
            <pc:sldLayoutMk cId="3084078228" sldId="2147485337"/>
          </pc:sldLayoutMkLst>
        </pc:sldLayoutChg>
        <pc:sldLayoutChg chg="del">
          <pc:chgData name="Erick Moore" userId="96a732b2-26bb-45da-b8ee-37851dfdb22e" providerId="ADAL" clId="{421EFE58-C744-487C-8529-5E403829B24E}" dt="2021-08-17T19:09:57.352" v="1700" actId="2696"/>
          <pc:sldLayoutMkLst>
            <pc:docMk/>
            <pc:sldMasterMk cId="1360668912" sldId="2147485327"/>
            <pc:sldLayoutMk cId="1707366466" sldId="2147485338"/>
          </pc:sldLayoutMkLst>
        </pc:sldLayoutChg>
        <pc:sldLayoutChg chg="del">
          <pc:chgData name="Erick Moore" userId="96a732b2-26bb-45da-b8ee-37851dfdb22e" providerId="ADAL" clId="{421EFE58-C744-487C-8529-5E403829B24E}" dt="2021-08-17T19:09:57.356" v="1701" actId="2696"/>
          <pc:sldLayoutMkLst>
            <pc:docMk/>
            <pc:sldMasterMk cId="1360668912" sldId="2147485327"/>
            <pc:sldLayoutMk cId="2653711178" sldId="2147485339"/>
          </pc:sldLayoutMkLst>
        </pc:sldLayoutChg>
        <pc:sldLayoutChg chg="del">
          <pc:chgData name="Erick Moore" userId="96a732b2-26bb-45da-b8ee-37851dfdb22e" providerId="ADAL" clId="{421EFE58-C744-487C-8529-5E403829B24E}" dt="2021-08-17T19:09:57.360" v="1702" actId="2696"/>
          <pc:sldLayoutMkLst>
            <pc:docMk/>
            <pc:sldMasterMk cId="1360668912" sldId="2147485327"/>
            <pc:sldLayoutMk cId="3434155729" sldId="2147485340"/>
          </pc:sldLayoutMkLst>
        </pc:sldLayoutChg>
        <pc:sldLayoutChg chg="del">
          <pc:chgData name="Erick Moore" userId="96a732b2-26bb-45da-b8ee-37851dfdb22e" providerId="ADAL" clId="{421EFE58-C744-487C-8529-5E403829B24E}" dt="2021-08-17T19:09:57.364" v="1703" actId="2696"/>
          <pc:sldLayoutMkLst>
            <pc:docMk/>
            <pc:sldMasterMk cId="1360668912" sldId="2147485327"/>
            <pc:sldLayoutMk cId="2070044314" sldId="2147485341"/>
          </pc:sldLayoutMkLst>
        </pc:sldLayoutChg>
        <pc:sldLayoutChg chg="del">
          <pc:chgData name="Erick Moore" userId="96a732b2-26bb-45da-b8ee-37851dfdb22e" providerId="ADAL" clId="{421EFE58-C744-487C-8529-5E403829B24E}" dt="2021-08-17T19:09:57.368" v="1704" actId="2696"/>
          <pc:sldLayoutMkLst>
            <pc:docMk/>
            <pc:sldMasterMk cId="1360668912" sldId="2147485327"/>
            <pc:sldLayoutMk cId="2468813472" sldId="2147485342"/>
          </pc:sldLayoutMkLst>
        </pc:sldLayoutChg>
        <pc:sldLayoutChg chg="del">
          <pc:chgData name="Erick Moore" userId="96a732b2-26bb-45da-b8ee-37851dfdb22e" providerId="ADAL" clId="{421EFE58-C744-487C-8529-5E403829B24E}" dt="2021-08-17T19:09:57.372" v="1705" actId="2696"/>
          <pc:sldLayoutMkLst>
            <pc:docMk/>
            <pc:sldMasterMk cId="1360668912" sldId="2147485327"/>
            <pc:sldLayoutMk cId="3236639163" sldId="2147485343"/>
          </pc:sldLayoutMkLst>
        </pc:sldLayoutChg>
        <pc:sldLayoutChg chg="del">
          <pc:chgData name="Erick Moore" userId="96a732b2-26bb-45da-b8ee-37851dfdb22e" providerId="ADAL" clId="{421EFE58-C744-487C-8529-5E403829B24E}" dt="2021-08-17T19:09:57.376" v="1706" actId="2696"/>
          <pc:sldLayoutMkLst>
            <pc:docMk/>
            <pc:sldMasterMk cId="1360668912" sldId="2147485327"/>
            <pc:sldLayoutMk cId="3358841682" sldId="2147485344"/>
          </pc:sldLayoutMkLst>
        </pc:sldLayoutChg>
        <pc:sldLayoutChg chg="del">
          <pc:chgData name="Erick Moore" userId="96a732b2-26bb-45da-b8ee-37851dfdb22e" providerId="ADAL" clId="{421EFE58-C744-487C-8529-5E403829B24E}" dt="2021-08-17T19:09:57.380" v="1707" actId="2696"/>
          <pc:sldLayoutMkLst>
            <pc:docMk/>
            <pc:sldMasterMk cId="1360668912" sldId="2147485327"/>
            <pc:sldLayoutMk cId="3869179524" sldId="2147485345"/>
          </pc:sldLayoutMkLst>
        </pc:sldLayoutChg>
        <pc:sldLayoutChg chg="del">
          <pc:chgData name="Erick Moore" userId="96a732b2-26bb-45da-b8ee-37851dfdb22e" providerId="ADAL" clId="{421EFE58-C744-487C-8529-5E403829B24E}" dt="2021-08-17T19:09:57.384" v="1708" actId="2696"/>
          <pc:sldLayoutMkLst>
            <pc:docMk/>
            <pc:sldMasterMk cId="1360668912" sldId="2147485327"/>
            <pc:sldLayoutMk cId="458982084" sldId="2147485346"/>
          </pc:sldLayoutMkLst>
        </pc:sldLayoutChg>
        <pc:sldLayoutChg chg="del">
          <pc:chgData name="Erick Moore" userId="96a732b2-26bb-45da-b8ee-37851dfdb22e" providerId="ADAL" clId="{421EFE58-C744-487C-8529-5E403829B24E}" dt="2021-08-17T19:09:57.388" v="1709" actId="2696"/>
          <pc:sldLayoutMkLst>
            <pc:docMk/>
            <pc:sldMasterMk cId="1360668912" sldId="2147485327"/>
            <pc:sldLayoutMk cId="2290711087" sldId="2147485347"/>
          </pc:sldLayoutMkLst>
        </pc:sldLayoutChg>
        <pc:sldLayoutChg chg="del">
          <pc:chgData name="Erick Moore" userId="96a732b2-26bb-45da-b8ee-37851dfdb22e" providerId="ADAL" clId="{421EFE58-C744-487C-8529-5E403829B24E}" dt="2021-08-17T19:09:57.392" v="1710" actId="2696"/>
          <pc:sldLayoutMkLst>
            <pc:docMk/>
            <pc:sldMasterMk cId="1360668912" sldId="2147485327"/>
            <pc:sldLayoutMk cId="3454732657" sldId="2147485348"/>
          </pc:sldLayoutMkLst>
        </pc:sldLayoutChg>
        <pc:sldLayoutChg chg="del">
          <pc:chgData name="Erick Moore" userId="96a732b2-26bb-45da-b8ee-37851dfdb22e" providerId="ADAL" clId="{421EFE58-C744-487C-8529-5E403829B24E}" dt="2021-08-17T19:09:57.397" v="1711" actId="2696"/>
          <pc:sldLayoutMkLst>
            <pc:docMk/>
            <pc:sldMasterMk cId="1360668912" sldId="2147485327"/>
            <pc:sldLayoutMk cId="482839370" sldId="2147485349"/>
          </pc:sldLayoutMkLst>
        </pc:sldLayoutChg>
        <pc:sldLayoutChg chg="del">
          <pc:chgData name="Erick Moore" userId="96a732b2-26bb-45da-b8ee-37851dfdb22e" providerId="ADAL" clId="{421EFE58-C744-487C-8529-5E403829B24E}" dt="2021-08-17T19:09:57.401" v="1712" actId="2696"/>
          <pc:sldLayoutMkLst>
            <pc:docMk/>
            <pc:sldMasterMk cId="1360668912" sldId="2147485327"/>
            <pc:sldLayoutMk cId="3671500986" sldId="2147485350"/>
          </pc:sldLayoutMkLst>
        </pc:sldLayoutChg>
        <pc:sldLayoutChg chg="del">
          <pc:chgData name="Erick Moore" userId="96a732b2-26bb-45da-b8ee-37851dfdb22e" providerId="ADAL" clId="{421EFE58-C744-487C-8529-5E403829B24E}" dt="2021-08-17T19:09:57.405" v="1713" actId="2696"/>
          <pc:sldLayoutMkLst>
            <pc:docMk/>
            <pc:sldMasterMk cId="1360668912" sldId="2147485327"/>
            <pc:sldLayoutMk cId="2056994543" sldId="2147485351"/>
          </pc:sldLayoutMkLst>
        </pc:sldLayoutChg>
        <pc:sldLayoutChg chg="del">
          <pc:chgData name="Erick Moore" userId="96a732b2-26bb-45da-b8ee-37851dfdb22e" providerId="ADAL" clId="{421EFE58-C744-487C-8529-5E403829B24E}" dt="2021-08-17T19:09:57.410" v="1714" actId="2696"/>
          <pc:sldLayoutMkLst>
            <pc:docMk/>
            <pc:sldMasterMk cId="1360668912" sldId="2147485327"/>
            <pc:sldLayoutMk cId="2904639118" sldId="2147485352"/>
          </pc:sldLayoutMkLst>
        </pc:sldLayoutChg>
        <pc:sldLayoutChg chg="del">
          <pc:chgData name="Erick Moore" userId="96a732b2-26bb-45da-b8ee-37851dfdb22e" providerId="ADAL" clId="{421EFE58-C744-487C-8529-5E403829B24E}" dt="2021-08-17T19:09:57.414" v="1715" actId="2696"/>
          <pc:sldLayoutMkLst>
            <pc:docMk/>
            <pc:sldMasterMk cId="1360668912" sldId="2147485327"/>
            <pc:sldLayoutMk cId="2291247039" sldId="2147485353"/>
          </pc:sldLayoutMkLst>
        </pc:sldLayoutChg>
        <pc:sldLayoutChg chg="del">
          <pc:chgData name="Erick Moore" userId="96a732b2-26bb-45da-b8ee-37851dfdb22e" providerId="ADAL" clId="{421EFE58-C744-487C-8529-5E403829B24E}" dt="2021-08-17T19:09:57.418" v="1716" actId="2696"/>
          <pc:sldLayoutMkLst>
            <pc:docMk/>
            <pc:sldMasterMk cId="1360668912" sldId="2147485327"/>
            <pc:sldLayoutMk cId="1461056187" sldId="2147485354"/>
          </pc:sldLayoutMkLst>
        </pc:sldLayoutChg>
        <pc:sldLayoutChg chg="del">
          <pc:chgData name="Erick Moore" userId="96a732b2-26bb-45da-b8ee-37851dfdb22e" providerId="ADAL" clId="{421EFE58-C744-487C-8529-5E403829B24E}" dt="2021-08-17T19:09:57.422" v="1717" actId="2696"/>
          <pc:sldLayoutMkLst>
            <pc:docMk/>
            <pc:sldMasterMk cId="1360668912" sldId="2147485327"/>
            <pc:sldLayoutMk cId="3975849948" sldId="2147485355"/>
          </pc:sldLayoutMkLst>
        </pc:sldLayoutChg>
        <pc:sldLayoutChg chg="del">
          <pc:chgData name="Erick Moore" userId="96a732b2-26bb-45da-b8ee-37851dfdb22e" providerId="ADAL" clId="{421EFE58-C744-487C-8529-5E403829B24E}" dt="2021-08-17T19:09:57.426" v="1718" actId="2696"/>
          <pc:sldLayoutMkLst>
            <pc:docMk/>
            <pc:sldMasterMk cId="1360668912" sldId="2147485327"/>
            <pc:sldLayoutMk cId="3185612364" sldId="2147485356"/>
          </pc:sldLayoutMkLst>
        </pc:sldLayoutChg>
        <pc:sldLayoutChg chg="del">
          <pc:chgData name="Erick Moore" userId="96a732b2-26bb-45da-b8ee-37851dfdb22e" providerId="ADAL" clId="{421EFE58-C744-487C-8529-5E403829B24E}" dt="2021-08-17T19:09:57.430" v="1719" actId="2696"/>
          <pc:sldLayoutMkLst>
            <pc:docMk/>
            <pc:sldMasterMk cId="1360668912" sldId="2147485327"/>
            <pc:sldLayoutMk cId="3137144503" sldId="2147485357"/>
          </pc:sldLayoutMkLst>
        </pc:sldLayoutChg>
        <pc:sldLayoutChg chg="del">
          <pc:chgData name="Erick Moore" userId="96a732b2-26bb-45da-b8ee-37851dfdb22e" providerId="ADAL" clId="{421EFE58-C744-487C-8529-5E403829B24E}" dt="2021-08-17T19:09:57.434" v="1720" actId="2696"/>
          <pc:sldLayoutMkLst>
            <pc:docMk/>
            <pc:sldMasterMk cId="1360668912" sldId="2147485327"/>
            <pc:sldLayoutMk cId="4103757346" sldId="2147485358"/>
          </pc:sldLayoutMkLst>
        </pc:sldLayoutChg>
        <pc:sldLayoutChg chg="del">
          <pc:chgData name="Erick Moore" userId="96a732b2-26bb-45da-b8ee-37851dfdb22e" providerId="ADAL" clId="{421EFE58-C744-487C-8529-5E403829B24E}" dt="2021-08-17T19:09:57.438" v="1721" actId="2696"/>
          <pc:sldLayoutMkLst>
            <pc:docMk/>
            <pc:sldMasterMk cId="1360668912" sldId="2147485327"/>
            <pc:sldLayoutMk cId="1536554216" sldId="2147485359"/>
          </pc:sldLayoutMkLst>
        </pc:sldLayoutChg>
        <pc:sldLayoutChg chg="del">
          <pc:chgData name="Erick Moore" userId="96a732b2-26bb-45da-b8ee-37851dfdb22e" providerId="ADAL" clId="{421EFE58-C744-487C-8529-5E403829B24E}" dt="2021-08-17T19:09:57.441" v="1722" actId="2696"/>
          <pc:sldLayoutMkLst>
            <pc:docMk/>
            <pc:sldMasterMk cId="1360668912" sldId="2147485327"/>
            <pc:sldLayoutMk cId="615298084" sldId="2147485360"/>
          </pc:sldLayoutMkLst>
        </pc:sldLayoutChg>
        <pc:sldLayoutChg chg="del">
          <pc:chgData name="Erick Moore" userId="96a732b2-26bb-45da-b8ee-37851dfdb22e" providerId="ADAL" clId="{421EFE58-C744-487C-8529-5E403829B24E}" dt="2021-08-17T19:09:57.445" v="1723" actId="2696"/>
          <pc:sldLayoutMkLst>
            <pc:docMk/>
            <pc:sldMasterMk cId="1360668912" sldId="2147485327"/>
            <pc:sldLayoutMk cId="878832083" sldId="2147485361"/>
          </pc:sldLayoutMkLst>
        </pc:sldLayoutChg>
        <pc:sldLayoutChg chg="del">
          <pc:chgData name="Erick Moore" userId="96a732b2-26bb-45da-b8ee-37851dfdb22e" providerId="ADAL" clId="{421EFE58-C744-487C-8529-5E403829B24E}" dt="2021-08-17T19:09:57.449" v="1724" actId="2696"/>
          <pc:sldLayoutMkLst>
            <pc:docMk/>
            <pc:sldMasterMk cId="1360668912" sldId="2147485327"/>
            <pc:sldLayoutMk cId="604579440" sldId="2147485362"/>
          </pc:sldLayoutMkLst>
        </pc:sldLayoutChg>
        <pc:sldLayoutChg chg="del">
          <pc:chgData name="Erick Moore" userId="96a732b2-26bb-45da-b8ee-37851dfdb22e" providerId="ADAL" clId="{421EFE58-C744-487C-8529-5E403829B24E}" dt="2021-08-17T19:09:57.453" v="1725" actId="2696"/>
          <pc:sldLayoutMkLst>
            <pc:docMk/>
            <pc:sldMasterMk cId="1360668912" sldId="2147485327"/>
            <pc:sldLayoutMk cId="2964996502" sldId="2147485363"/>
          </pc:sldLayoutMkLst>
        </pc:sldLayoutChg>
      </pc:sldMasterChg>
      <pc:sldMasterChg chg="del delSldLayout">
        <pc:chgData name="Erick Moore" userId="96a732b2-26bb-45da-b8ee-37851dfdb22e" providerId="ADAL" clId="{421EFE58-C744-487C-8529-5E403829B24E}" dt="2021-08-17T19:10:03.103" v="1759" actId="2696"/>
        <pc:sldMasterMkLst>
          <pc:docMk/>
          <pc:sldMasterMk cId="3221040443" sldId="2147485364"/>
        </pc:sldMasterMkLst>
        <pc:sldLayoutChg chg="del">
          <pc:chgData name="Erick Moore" userId="96a732b2-26bb-45da-b8ee-37851dfdb22e" providerId="ADAL" clId="{421EFE58-C744-487C-8529-5E403829B24E}" dt="2021-08-17T19:10:02.982" v="1727" actId="2696"/>
          <pc:sldLayoutMkLst>
            <pc:docMk/>
            <pc:sldMasterMk cId="3221040443" sldId="2147485364"/>
            <pc:sldLayoutMk cId="2779511107" sldId="2147485365"/>
          </pc:sldLayoutMkLst>
        </pc:sldLayoutChg>
        <pc:sldLayoutChg chg="del">
          <pc:chgData name="Erick Moore" userId="96a732b2-26bb-45da-b8ee-37851dfdb22e" providerId="ADAL" clId="{421EFE58-C744-487C-8529-5E403829B24E}" dt="2021-08-17T19:10:02.986" v="1728" actId="2696"/>
          <pc:sldLayoutMkLst>
            <pc:docMk/>
            <pc:sldMasterMk cId="3221040443" sldId="2147485364"/>
            <pc:sldLayoutMk cId="4028277731" sldId="2147485366"/>
          </pc:sldLayoutMkLst>
        </pc:sldLayoutChg>
        <pc:sldLayoutChg chg="del">
          <pc:chgData name="Erick Moore" userId="96a732b2-26bb-45da-b8ee-37851dfdb22e" providerId="ADAL" clId="{421EFE58-C744-487C-8529-5E403829B24E}" dt="2021-08-17T19:10:02.991" v="1729" actId="2696"/>
          <pc:sldLayoutMkLst>
            <pc:docMk/>
            <pc:sldMasterMk cId="3221040443" sldId="2147485364"/>
            <pc:sldLayoutMk cId="1174449033" sldId="2147485367"/>
          </pc:sldLayoutMkLst>
        </pc:sldLayoutChg>
        <pc:sldLayoutChg chg="del">
          <pc:chgData name="Erick Moore" userId="96a732b2-26bb-45da-b8ee-37851dfdb22e" providerId="ADAL" clId="{421EFE58-C744-487C-8529-5E403829B24E}" dt="2021-08-17T19:10:02.994" v="1730" actId="2696"/>
          <pc:sldLayoutMkLst>
            <pc:docMk/>
            <pc:sldMasterMk cId="3221040443" sldId="2147485364"/>
            <pc:sldLayoutMk cId="646870231" sldId="2147485368"/>
          </pc:sldLayoutMkLst>
        </pc:sldLayoutChg>
        <pc:sldLayoutChg chg="del">
          <pc:chgData name="Erick Moore" userId="96a732b2-26bb-45da-b8ee-37851dfdb22e" providerId="ADAL" clId="{421EFE58-C744-487C-8529-5E403829B24E}" dt="2021-08-17T19:10:02.998" v="1731" actId="2696"/>
          <pc:sldLayoutMkLst>
            <pc:docMk/>
            <pc:sldMasterMk cId="3221040443" sldId="2147485364"/>
            <pc:sldLayoutMk cId="2898614330" sldId="2147485369"/>
          </pc:sldLayoutMkLst>
        </pc:sldLayoutChg>
        <pc:sldLayoutChg chg="del">
          <pc:chgData name="Erick Moore" userId="96a732b2-26bb-45da-b8ee-37851dfdb22e" providerId="ADAL" clId="{421EFE58-C744-487C-8529-5E403829B24E}" dt="2021-08-17T19:10:03.001" v="1732" actId="2696"/>
          <pc:sldLayoutMkLst>
            <pc:docMk/>
            <pc:sldMasterMk cId="3221040443" sldId="2147485364"/>
            <pc:sldLayoutMk cId="2272452975" sldId="2147485370"/>
          </pc:sldLayoutMkLst>
        </pc:sldLayoutChg>
        <pc:sldLayoutChg chg="del">
          <pc:chgData name="Erick Moore" userId="96a732b2-26bb-45da-b8ee-37851dfdb22e" providerId="ADAL" clId="{421EFE58-C744-487C-8529-5E403829B24E}" dt="2021-08-17T19:10:03.005" v="1733" actId="2696"/>
          <pc:sldLayoutMkLst>
            <pc:docMk/>
            <pc:sldMasterMk cId="3221040443" sldId="2147485364"/>
            <pc:sldLayoutMk cId="2546567550" sldId="2147485371"/>
          </pc:sldLayoutMkLst>
        </pc:sldLayoutChg>
        <pc:sldLayoutChg chg="del">
          <pc:chgData name="Erick Moore" userId="96a732b2-26bb-45da-b8ee-37851dfdb22e" providerId="ADAL" clId="{421EFE58-C744-487C-8529-5E403829B24E}" dt="2021-08-17T19:10:03.008" v="1734" actId="2696"/>
          <pc:sldLayoutMkLst>
            <pc:docMk/>
            <pc:sldMasterMk cId="3221040443" sldId="2147485364"/>
            <pc:sldLayoutMk cId="926065785" sldId="2147485372"/>
          </pc:sldLayoutMkLst>
        </pc:sldLayoutChg>
        <pc:sldLayoutChg chg="del">
          <pc:chgData name="Erick Moore" userId="96a732b2-26bb-45da-b8ee-37851dfdb22e" providerId="ADAL" clId="{421EFE58-C744-487C-8529-5E403829B24E}" dt="2021-08-17T19:10:03.012" v="1735" actId="2696"/>
          <pc:sldLayoutMkLst>
            <pc:docMk/>
            <pc:sldMasterMk cId="3221040443" sldId="2147485364"/>
            <pc:sldLayoutMk cId="1090625610" sldId="2147485373"/>
          </pc:sldLayoutMkLst>
        </pc:sldLayoutChg>
        <pc:sldLayoutChg chg="del">
          <pc:chgData name="Erick Moore" userId="96a732b2-26bb-45da-b8ee-37851dfdb22e" providerId="ADAL" clId="{421EFE58-C744-487C-8529-5E403829B24E}" dt="2021-08-17T19:10:03.015" v="1736" actId="2696"/>
          <pc:sldLayoutMkLst>
            <pc:docMk/>
            <pc:sldMasterMk cId="3221040443" sldId="2147485364"/>
            <pc:sldLayoutMk cId="1132202707" sldId="2147485374"/>
          </pc:sldLayoutMkLst>
        </pc:sldLayoutChg>
        <pc:sldLayoutChg chg="del">
          <pc:chgData name="Erick Moore" userId="96a732b2-26bb-45da-b8ee-37851dfdb22e" providerId="ADAL" clId="{421EFE58-C744-487C-8529-5E403829B24E}" dt="2021-08-17T19:10:03.018" v="1737" actId="2696"/>
          <pc:sldLayoutMkLst>
            <pc:docMk/>
            <pc:sldMasterMk cId="3221040443" sldId="2147485364"/>
            <pc:sldLayoutMk cId="2475608782" sldId="2147485375"/>
          </pc:sldLayoutMkLst>
        </pc:sldLayoutChg>
        <pc:sldLayoutChg chg="del">
          <pc:chgData name="Erick Moore" userId="96a732b2-26bb-45da-b8ee-37851dfdb22e" providerId="ADAL" clId="{421EFE58-C744-487C-8529-5E403829B24E}" dt="2021-08-17T19:10:03.022" v="1738" actId="2696"/>
          <pc:sldLayoutMkLst>
            <pc:docMk/>
            <pc:sldMasterMk cId="3221040443" sldId="2147485364"/>
            <pc:sldLayoutMk cId="3723117005" sldId="2147485376"/>
          </pc:sldLayoutMkLst>
        </pc:sldLayoutChg>
        <pc:sldLayoutChg chg="del">
          <pc:chgData name="Erick Moore" userId="96a732b2-26bb-45da-b8ee-37851dfdb22e" providerId="ADAL" clId="{421EFE58-C744-487C-8529-5E403829B24E}" dt="2021-08-17T19:10:03.025" v="1739" actId="2696"/>
          <pc:sldLayoutMkLst>
            <pc:docMk/>
            <pc:sldMasterMk cId="3221040443" sldId="2147485364"/>
            <pc:sldLayoutMk cId="1668830730" sldId="2147485377"/>
          </pc:sldLayoutMkLst>
        </pc:sldLayoutChg>
        <pc:sldLayoutChg chg="del">
          <pc:chgData name="Erick Moore" userId="96a732b2-26bb-45da-b8ee-37851dfdb22e" providerId="ADAL" clId="{421EFE58-C744-487C-8529-5E403829B24E}" dt="2021-08-17T19:10:03.029" v="1740" actId="2696"/>
          <pc:sldLayoutMkLst>
            <pc:docMk/>
            <pc:sldMasterMk cId="3221040443" sldId="2147485364"/>
            <pc:sldLayoutMk cId="245598638" sldId="2147485378"/>
          </pc:sldLayoutMkLst>
        </pc:sldLayoutChg>
        <pc:sldLayoutChg chg="del">
          <pc:chgData name="Erick Moore" userId="96a732b2-26bb-45da-b8ee-37851dfdb22e" providerId="ADAL" clId="{421EFE58-C744-487C-8529-5E403829B24E}" dt="2021-08-17T19:10:03.033" v="1741" actId="2696"/>
          <pc:sldLayoutMkLst>
            <pc:docMk/>
            <pc:sldMasterMk cId="3221040443" sldId="2147485364"/>
            <pc:sldLayoutMk cId="3448355157" sldId="2147485379"/>
          </pc:sldLayoutMkLst>
        </pc:sldLayoutChg>
        <pc:sldLayoutChg chg="del">
          <pc:chgData name="Erick Moore" userId="96a732b2-26bb-45da-b8ee-37851dfdb22e" providerId="ADAL" clId="{421EFE58-C744-487C-8529-5E403829B24E}" dt="2021-08-17T19:10:03.037" v="1742" actId="2696"/>
          <pc:sldLayoutMkLst>
            <pc:docMk/>
            <pc:sldMasterMk cId="3221040443" sldId="2147485364"/>
            <pc:sldLayoutMk cId="2628905794" sldId="2147485380"/>
          </pc:sldLayoutMkLst>
        </pc:sldLayoutChg>
        <pc:sldLayoutChg chg="del">
          <pc:chgData name="Erick Moore" userId="96a732b2-26bb-45da-b8ee-37851dfdb22e" providerId="ADAL" clId="{421EFE58-C744-487C-8529-5E403829B24E}" dt="2021-08-17T19:10:03.040" v="1743" actId="2696"/>
          <pc:sldLayoutMkLst>
            <pc:docMk/>
            <pc:sldMasterMk cId="3221040443" sldId="2147485364"/>
            <pc:sldLayoutMk cId="3298665675" sldId="2147485381"/>
          </pc:sldLayoutMkLst>
        </pc:sldLayoutChg>
        <pc:sldLayoutChg chg="del">
          <pc:chgData name="Erick Moore" userId="96a732b2-26bb-45da-b8ee-37851dfdb22e" providerId="ADAL" clId="{421EFE58-C744-487C-8529-5E403829B24E}" dt="2021-08-17T19:10:03.044" v="1744" actId="2696"/>
          <pc:sldLayoutMkLst>
            <pc:docMk/>
            <pc:sldMasterMk cId="3221040443" sldId="2147485364"/>
            <pc:sldLayoutMk cId="3046587218" sldId="2147485382"/>
          </pc:sldLayoutMkLst>
        </pc:sldLayoutChg>
        <pc:sldLayoutChg chg="del">
          <pc:chgData name="Erick Moore" userId="96a732b2-26bb-45da-b8ee-37851dfdb22e" providerId="ADAL" clId="{421EFE58-C744-487C-8529-5E403829B24E}" dt="2021-08-17T19:10:03.048" v="1745" actId="2696"/>
          <pc:sldLayoutMkLst>
            <pc:docMk/>
            <pc:sldMasterMk cId="3221040443" sldId="2147485364"/>
            <pc:sldLayoutMk cId="2037077942" sldId="2147485383"/>
          </pc:sldLayoutMkLst>
        </pc:sldLayoutChg>
        <pc:sldLayoutChg chg="del">
          <pc:chgData name="Erick Moore" userId="96a732b2-26bb-45da-b8ee-37851dfdb22e" providerId="ADAL" clId="{421EFE58-C744-487C-8529-5E403829B24E}" dt="2021-08-17T19:10:03.052" v="1746" actId="2696"/>
          <pc:sldLayoutMkLst>
            <pc:docMk/>
            <pc:sldMasterMk cId="3221040443" sldId="2147485364"/>
            <pc:sldLayoutMk cId="2274648549" sldId="2147485384"/>
          </pc:sldLayoutMkLst>
        </pc:sldLayoutChg>
        <pc:sldLayoutChg chg="del">
          <pc:chgData name="Erick Moore" userId="96a732b2-26bb-45da-b8ee-37851dfdb22e" providerId="ADAL" clId="{421EFE58-C744-487C-8529-5E403829B24E}" dt="2021-08-17T19:10:03.056" v="1747" actId="2696"/>
          <pc:sldLayoutMkLst>
            <pc:docMk/>
            <pc:sldMasterMk cId="3221040443" sldId="2147485364"/>
            <pc:sldLayoutMk cId="2622962248" sldId="2147485385"/>
          </pc:sldLayoutMkLst>
        </pc:sldLayoutChg>
        <pc:sldLayoutChg chg="del">
          <pc:chgData name="Erick Moore" userId="96a732b2-26bb-45da-b8ee-37851dfdb22e" providerId="ADAL" clId="{421EFE58-C744-487C-8529-5E403829B24E}" dt="2021-08-17T19:10:03.059" v="1748" actId="2696"/>
          <pc:sldLayoutMkLst>
            <pc:docMk/>
            <pc:sldMasterMk cId="3221040443" sldId="2147485364"/>
            <pc:sldLayoutMk cId="1272938536" sldId="2147485386"/>
          </pc:sldLayoutMkLst>
        </pc:sldLayoutChg>
        <pc:sldLayoutChg chg="del">
          <pc:chgData name="Erick Moore" userId="96a732b2-26bb-45da-b8ee-37851dfdb22e" providerId="ADAL" clId="{421EFE58-C744-487C-8529-5E403829B24E}" dt="2021-08-17T19:10:03.063" v="1749" actId="2696"/>
          <pc:sldLayoutMkLst>
            <pc:docMk/>
            <pc:sldMasterMk cId="3221040443" sldId="2147485364"/>
            <pc:sldLayoutMk cId="3956984773" sldId="2147485387"/>
          </pc:sldLayoutMkLst>
        </pc:sldLayoutChg>
        <pc:sldLayoutChg chg="del">
          <pc:chgData name="Erick Moore" userId="96a732b2-26bb-45da-b8ee-37851dfdb22e" providerId="ADAL" clId="{421EFE58-C744-487C-8529-5E403829B24E}" dt="2021-08-17T19:10:03.067" v="1750" actId="2696"/>
          <pc:sldLayoutMkLst>
            <pc:docMk/>
            <pc:sldMasterMk cId="3221040443" sldId="2147485364"/>
            <pc:sldLayoutMk cId="4186896110" sldId="2147485388"/>
          </pc:sldLayoutMkLst>
        </pc:sldLayoutChg>
        <pc:sldLayoutChg chg="del">
          <pc:chgData name="Erick Moore" userId="96a732b2-26bb-45da-b8ee-37851dfdb22e" providerId="ADAL" clId="{421EFE58-C744-487C-8529-5E403829B24E}" dt="2021-08-17T19:10:03.071" v="1751" actId="2696"/>
          <pc:sldLayoutMkLst>
            <pc:docMk/>
            <pc:sldMasterMk cId="3221040443" sldId="2147485364"/>
            <pc:sldLayoutMk cId="611043150" sldId="2147485389"/>
          </pc:sldLayoutMkLst>
        </pc:sldLayoutChg>
        <pc:sldLayoutChg chg="del">
          <pc:chgData name="Erick Moore" userId="96a732b2-26bb-45da-b8ee-37851dfdb22e" providerId="ADAL" clId="{421EFE58-C744-487C-8529-5E403829B24E}" dt="2021-08-17T19:10:03.075" v="1752" actId="2696"/>
          <pc:sldLayoutMkLst>
            <pc:docMk/>
            <pc:sldMasterMk cId="3221040443" sldId="2147485364"/>
            <pc:sldLayoutMk cId="2469696133" sldId="2147485390"/>
          </pc:sldLayoutMkLst>
        </pc:sldLayoutChg>
        <pc:sldLayoutChg chg="del">
          <pc:chgData name="Erick Moore" userId="96a732b2-26bb-45da-b8ee-37851dfdb22e" providerId="ADAL" clId="{421EFE58-C744-487C-8529-5E403829B24E}" dt="2021-08-17T19:10:03.078" v="1753" actId="2696"/>
          <pc:sldLayoutMkLst>
            <pc:docMk/>
            <pc:sldMasterMk cId="3221040443" sldId="2147485364"/>
            <pc:sldLayoutMk cId="2409904584" sldId="2147485391"/>
          </pc:sldLayoutMkLst>
        </pc:sldLayoutChg>
        <pc:sldLayoutChg chg="del">
          <pc:chgData name="Erick Moore" userId="96a732b2-26bb-45da-b8ee-37851dfdb22e" providerId="ADAL" clId="{421EFE58-C744-487C-8529-5E403829B24E}" dt="2021-08-17T19:10:03.083" v="1754" actId="2696"/>
          <pc:sldLayoutMkLst>
            <pc:docMk/>
            <pc:sldMasterMk cId="3221040443" sldId="2147485364"/>
            <pc:sldLayoutMk cId="3007036367" sldId="2147485392"/>
          </pc:sldLayoutMkLst>
        </pc:sldLayoutChg>
        <pc:sldLayoutChg chg="del">
          <pc:chgData name="Erick Moore" userId="96a732b2-26bb-45da-b8ee-37851dfdb22e" providerId="ADAL" clId="{421EFE58-C744-487C-8529-5E403829B24E}" dt="2021-08-17T19:10:03.087" v="1755" actId="2696"/>
          <pc:sldLayoutMkLst>
            <pc:docMk/>
            <pc:sldMasterMk cId="3221040443" sldId="2147485364"/>
            <pc:sldLayoutMk cId="1165468022" sldId="2147485393"/>
          </pc:sldLayoutMkLst>
        </pc:sldLayoutChg>
        <pc:sldLayoutChg chg="del">
          <pc:chgData name="Erick Moore" userId="96a732b2-26bb-45da-b8ee-37851dfdb22e" providerId="ADAL" clId="{421EFE58-C744-487C-8529-5E403829B24E}" dt="2021-08-17T19:10:03.090" v="1756" actId="2696"/>
          <pc:sldLayoutMkLst>
            <pc:docMk/>
            <pc:sldMasterMk cId="3221040443" sldId="2147485364"/>
            <pc:sldLayoutMk cId="2033084334" sldId="2147485394"/>
          </pc:sldLayoutMkLst>
        </pc:sldLayoutChg>
        <pc:sldLayoutChg chg="del">
          <pc:chgData name="Erick Moore" userId="96a732b2-26bb-45da-b8ee-37851dfdb22e" providerId="ADAL" clId="{421EFE58-C744-487C-8529-5E403829B24E}" dt="2021-08-17T19:10:03.093" v="1757" actId="2696"/>
          <pc:sldLayoutMkLst>
            <pc:docMk/>
            <pc:sldMasterMk cId="3221040443" sldId="2147485364"/>
            <pc:sldLayoutMk cId="3038823059" sldId="2147485395"/>
          </pc:sldLayoutMkLst>
        </pc:sldLayoutChg>
        <pc:sldLayoutChg chg="del">
          <pc:chgData name="Erick Moore" userId="96a732b2-26bb-45da-b8ee-37851dfdb22e" providerId="ADAL" clId="{421EFE58-C744-487C-8529-5E403829B24E}" dt="2021-08-17T19:10:03.096" v="1758" actId="2696"/>
          <pc:sldLayoutMkLst>
            <pc:docMk/>
            <pc:sldMasterMk cId="3221040443" sldId="2147485364"/>
            <pc:sldLayoutMk cId="2549726627" sldId="2147485396"/>
          </pc:sldLayoutMkLst>
        </pc:sldLayoutChg>
      </pc:sldMasterChg>
      <pc:sldMasterChg chg="del delSldLayout">
        <pc:chgData name="Erick Moore" userId="96a732b2-26bb-45da-b8ee-37851dfdb22e" providerId="ADAL" clId="{421EFE58-C744-487C-8529-5E403829B24E}" dt="2021-08-17T19:10:07.242" v="1810" actId="2696"/>
        <pc:sldMasterMkLst>
          <pc:docMk/>
          <pc:sldMasterMk cId="1152879639" sldId="2147485397"/>
        </pc:sldMasterMkLst>
        <pc:sldLayoutChg chg="del">
          <pc:chgData name="Erick Moore" userId="96a732b2-26bb-45da-b8ee-37851dfdb22e" providerId="ADAL" clId="{421EFE58-C744-487C-8529-5E403829B24E}" dt="2021-08-17T19:10:07.026" v="1760" actId="2696"/>
          <pc:sldLayoutMkLst>
            <pc:docMk/>
            <pc:sldMasterMk cId="1152879639" sldId="2147485397"/>
            <pc:sldLayoutMk cId="684429069" sldId="2147485398"/>
          </pc:sldLayoutMkLst>
        </pc:sldLayoutChg>
        <pc:sldLayoutChg chg="del">
          <pc:chgData name="Erick Moore" userId="96a732b2-26bb-45da-b8ee-37851dfdb22e" providerId="ADAL" clId="{421EFE58-C744-487C-8529-5E403829B24E}" dt="2021-08-17T19:10:07.031" v="1761" actId="2696"/>
          <pc:sldLayoutMkLst>
            <pc:docMk/>
            <pc:sldMasterMk cId="1152879639" sldId="2147485397"/>
            <pc:sldLayoutMk cId="1895756605" sldId="2147485399"/>
          </pc:sldLayoutMkLst>
        </pc:sldLayoutChg>
        <pc:sldLayoutChg chg="del">
          <pc:chgData name="Erick Moore" userId="96a732b2-26bb-45da-b8ee-37851dfdb22e" providerId="ADAL" clId="{421EFE58-C744-487C-8529-5E403829B24E}" dt="2021-08-17T19:10:07.035" v="1762" actId="2696"/>
          <pc:sldLayoutMkLst>
            <pc:docMk/>
            <pc:sldMasterMk cId="1152879639" sldId="2147485397"/>
            <pc:sldLayoutMk cId="4150180558" sldId="2147485400"/>
          </pc:sldLayoutMkLst>
        </pc:sldLayoutChg>
        <pc:sldLayoutChg chg="del">
          <pc:chgData name="Erick Moore" userId="96a732b2-26bb-45da-b8ee-37851dfdb22e" providerId="ADAL" clId="{421EFE58-C744-487C-8529-5E403829B24E}" dt="2021-08-17T19:10:07.043" v="1763" actId="2696"/>
          <pc:sldLayoutMkLst>
            <pc:docMk/>
            <pc:sldMasterMk cId="1152879639" sldId="2147485397"/>
            <pc:sldLayoutMk cId="1763444704" sldId="2147485401"/>
          </pc:sldLayoutMkLst>
        </pc:sldLayoutChg>
        <pc:sldLayoutChg chg="del">
          <pc:chgData name="Erick Moore" userId="96a732b2-26bb-45da-b8ee-37851dfdb22e" providerId="ADAL" clId="{421EFE58-C744-487C-8529-5E403829B24E}" dt="2021-08-17T19:10:07.049" v="1764" actId="2696"/>
          <pc:sldLayoutMkLst>
            <pc:docMk/>
            <pc:sldMasterMk cId="1152879639" sldId="2147485397"/>
            <pc:sldLayoutMk cId="3557429075" sldId="2147485402"/>
          </pc:sldLayoutMkLst>
        </pc:sldLayoutChg>
        <pc:sldLayoutChg chg="del">
          <pc:chgData name="Erick Moore" userId="96a732b2-26bb-45da-b8ee-37851dfdb22e" providerId="ADAL" clId="{421EFE58-C744-487C-8529-5E403829B24E}" dt="2021-08-17T19:10:07.055" v="1765" actId="2696"/>
          <pc:sldLayoutMkLst>
            <pc:docMk/>
            <pc:sldMasterMk cId="1152879639" sldId="2147485397"/>
            <pc:sldLayoutMk cId="1859244226" sldId="2147485403"/>
          </pc:sldLayoutMkLst>
        </pc:sldLayoutChg>
        <pc:sldLayoutChg chg="del">
          <pc:chgData name="Erick Moore" userId="96a732b2-26bb-45da-b8ee-37851dfdb22e" providerId="ADAL" clId="{421EFE58-C744-487C-8529-5E403829B24E}" dt="2021-08-17T19:10:07.060" v="1766" actId="2696"/>
          <pc:sldLayoutMkLst>
            <pc:docMk/>
            <pc:sldMasterMk cId="1152879639" sldId="2147485397"/>
            <pc:sldLayoutMk cId="341297663" sldId="2147485404"/>
          </pc:sldLayoutMkLst>
        </pc:sldLayoutChg>
        <pc:sldLayoutChg chg="del">
          <pc:chgData name="Erick Moore" userId="96a732b2-26bb-45da-b8ee-37851dfdb22e" providerId="ADAL" clId="{421EFE58-C744-487C-8529-5E403829B24E}" dt="2021-08-17T19:10:07.067" v="1767" actId="2696"/>
          <pc:sldLayoutMkLst>
            <pc:docMk/>
            <pc:sldMasterMk cId="1152879639" sldId="2147485397"/>
            <pc:sldLayoutMk cId="2094478844" sldId="2147485405"/>
          </pc:sldLayoutMkLst>
        </pc:sldLayoutChg>
        <pc:sldLayoutChg chg="del">
          <pc:chgData name="Erick Moore" userId="96a732b2-26bb-45da-b8ee-37851dfdb22e" providerId="ADAL" clId="{421EFE58-C744-487C-8529-5E403829B24E}" dt="2021-08-17T19:10:07.073" v="1768" actId="2696"/>
          <pc:sldLayoutMkLst>
            <pc:docMk/>
            <pc:sldMasterMk cId="1152879639" sldId="2147485397"/>
            <pc:sldLayoutMk cId="3529012123" sldId="2147485406"/>
          </pc:sldLayoutMkLst>
        </pc:sldLayoutChg>
        <pc:sldLayoutChg chg="del">
          <pc:chgData name="Erick Moore" userId="96a732b2-26bb-45da-b8ee-37851dfdb22e" providerId="ADAL" clId="{421EFE58-C744-487C-8529-5E403829B24E}" dt="2021-08-17T19:10:07.078" v="1769" actId="2696"/>
          <pc:sldLayoutMkLst>
            <pc:docMk/>
            <pc:sldMasterMk cId="1152879639" sldId="2147485397"/>
            <pc:sldLayoutMk cId="2952383908" sldId="2147485407"/>
          </pc:sldLayoutMkLst>
        </pc:sldLayoutChg>
        <pc:sldLayoutChg chg="del">
          <pc:chgData name="Erick Moore" userId="96a732b2-26bb-45da-b8ee-37851dfdb22e" providerId="ADAL" clId="{421EFE58-C744-487C-8529-5E403829B24E}" dt="2021-08-17T19:10:07.084" v="1770" actId="2696"/>
          <pc:sldLayoutMkLst>
            <pc:docMk/>
            <pc:sldMasterMk cId="1152879639" sldId="2147485397"/>
            <pc:sldLayoutMk cId="2071894181" sldId="2147485408"/>
          </pc:sldLayoutMkLst>
        </pc:sldLayoutChg>
        <pc:sldLayoutChg chg="del">
          <pc:chgData name="Erick Moore" userId="96a732b2-26bb-45da-b8ee-37851dfdb22e" providerId="ADAL" clId="{421EFE58-C744-487C-8529-5E403829B24E}" dt="2021-08-17T19:10:07.088" v="1771" actId="2696"/>
          <pc:sldLayoutMkLst>
            <pc:docMk/>
            <pc:sldMasterMk cId="1152879639" sldId="2147485397"/>
            <pc:sldLayoutMk cId="795360306" sldId="2147485409"/>
          </pc:sldLayoutMkLst>
        </pc:sldLayoutChg>
        <pc:sldLayoutChg chg="del">
          <pc:chgData name="Erick Moore" userId="96a732b2-26bb-45da-b8ee-37851dfdb22e" providerId="ADAL" clId="{421EFE58-C744-487C-8529-5E403829B24E}" dt="2021-08-17T19:10:07.092" v="1772" actId="2696"/>
          <pc:sldLayoutMkLst>
            <pc:docMk/>
            <pc:sldMasterMk cId="1152879639" sldId="2147485397"/>
            <pc:sldLayoutMk cId="1898158612" sldId="2147485410"/>
          </pc:sldLayoutMkLst>
        </pc:sldLayoutChg>
        <pc:sldLayoutChg chg="del">
          <pc:chgData name="Erick Moore" userId="96a732b2-26bb-45da-b8ee-37851dfdb22e" providerId="ADAL" clId="{421EFE58-C744-487C-8529-5E403829B24E}" dt="2021-08-17T19:10:07.096" v="1773" actId="2696"/>
          <pc:sldLayoutMkLst>
            <pc:docMk/>
            <pc:sldMasterMk cId="1152879639" sldId="2147485397"/>
            <pc:sldLayoutMk cId="1529321535" sldId="2147485411"/>
          </pc:sldLayoutMkLst>
        </pc:sldLayoutChg>
        <pc:sldLayoutChg chg="del">
          <pc:chgData name="Erick Moore" userId="96a732b2-26bb-45da-b8ee-37851dfdb22e" providerId="ADAL" clId="{421EFE58-C744-487C-8529-5E403829B24E}" dt="2021-08-17T19:10:07.100" v="1774" actId="2696"/>
          <pc:sldLayoutMkLst>
            <pc:docMk/>
            <pc:sldMasterMk cId="1152879639" sldId="2147485397"/>
            <pc:sldLayoutMk cId="2687977881" sldId="2147485412"/>
          </pc:sldLayoutMkLst>
        </pc:sldLayoutChg>
        <pc:sldLayoutChg chg="del">
          <pc:chgData name="Erick Moore" userId="96a732b2-26bb-45da-b8ee-37851dfdb22e" providerId="ADAL" clId="{421EFE58-C744-487C-8529-5E403829B24E}" dt="2021-08-17T19:10:07.103" v="1775" actId="2696"/>
          <pc:sldLayoutMkLst>
            <pc:docMk/>
            <pc:sldMasterMk cId="1152879639" sldId="2147485397"/>
            <pc:sldLayoutMk cId="2382991415" sldId="2147485413"/>
          </pc:sldLayoutMkLst>
        </pc:sldLayoutChg>
        <pc:sldLayoutChg chg="del">
          <pc:chgData name="Erick Moore" userId="96a732b2-26bb-45da-b8ee-37851dfdb22e" providerId="ADAL" clId="{421EFE58-C744-487C-8529-5E403829B24E}" dt="2021-08-17T19:10:07.107" v="1776" actId="2696"/>
          <pc:sldLayoutMkLst>
            <pc:docMk/>
            <pc:sldMasterMk cId="1152879639" sldId="2147485397"/>
            <pc:sldLayoutMk cId="2018939191" sldId="2147485414"/>
          </pc:sldLayoutMkLst>
        </pc:sldLayoutChg>
        <pc:sldLayoutChg chg="del">
          <pc:chgData name="Erick Moore" userId="96a732b2-26bb-45da-b8ee-37851dfdb22e" providerId="ADAL" clId="{421EFE58-C744-487C-8529-5E403829B24E}" dt="2021-08-17T19:10:07.111" v="1777" actId="2696"/>
          <pc:sldLayoutMkLst>
            <pc:docMk/>
            <pc:sldMasterMk cId="1152879639" sldId="2147485397"/>
            <pc:sldLayoutMk cId="2279190880" sldId="2147485415"/>
          </pc:sldLayoutMkLst>
        </pc:sldLayoutChg>
        <pc:sldLayoutChg chg="del">
          <pc:chgData name="Erick Moore" userId="96a732b2-26bb-45da-b8ee-37851dfdb22e" providerId="ADAL" clId="{421EFE58-C744-487C-8529-5E403829B24E}" dt="2021-08-17T19:10:07.115" v="1778" actId="2696"/>
          <pc:sldLayoutMkLst>
            <pc:docMk/>
            <pc:sldMasterMk cId="1152879639" sldId="2147485397"/>
            <pc:sldLayoutMk cId="914047014" sldId="2147485416"/>
          </pc:sldLayoutMkLst>
        </pc:sldLayoutChg>
        <pc:sldLayoutChg chg="del">
          <pc:chgData name="Erick Moore" userId="96a732b2-26bb-45da-b8ee-37851dfdb22e" providerId="ADAL" clId="{421EFE58-C744-487C-8529-5E403829B24E}" dt="2021-08-17T19:10:07.120" v="1779" actId="2696"/>
          <pc:sldLayoutMkLst>
            <pc:docMk/>
            <pc:sldMasterMk cId="1152879639" sldId="2147485397"/>
            <pc:sldLayoutMk cId="668322261" sldId="2147485417"/>
          </pc:sldLayoutMkLst>
        </pc:sldLayoutChg>
        <pc:sldLayoutChg chg="del">
          <pc:chgData name="Erick Moore" userId="96a732b2-26bb-45da-b8ee-37851dfdb22e" providerId="ADAL" clId="{421EFE58-C744-487C-8529-5E403829B24E}" dt="2021-08-17T19:10:07.126" v="1780" actId="2696"/>
          <pc:sldLayoutMkLst>
            <pc:docMk/>
            <pc:sldMasterMk cId="1152879639" sldId="2147485397"/>
            <pc:sldLayoutMk cId="3369789763" sldId="2147485418"/>
          </pc:sldLayoutMkLst>
        </pc:sldLayoutChg>
        <pc:sldLayoutChg chg="del">
          <pc:chgData name="Erick Moore" userId="96a732b2-26bb-45da-b8ee-37851dfdb22e" providerId="ADAL" clId="{421EFE58-C744-487C-8529-5E403829B24E}" dt="2021-08-17T19:10:07.132" v="1781" actId="2696"/>
          <pc:sldLayoutMkLst>
            <pc:docMk/>
            <pc:sldMasterMk cId="1152879639" sldId="2147485397"/>
            <pc:sldLayoutMk cId="1616492783" sldId="2147485419"/>
          </pc:sldLayoutMkLst>
        </pc:sldLayoutChg>
        <pc:sldLayoutChg chg="del">
          <pc:chgData name="Erick Moore" userId="96a732b2-26bb-45da-b8ee-37851dfdb22e" providerId="ADAL" clId="{421EFE58-C744-487C-8529-5E403829B24E}" dt="2021-08-17T19:10:07.136" v="1782" actId="2696"/>
          <pc:sldLayoutMkLst>
            <pc:docMk/>
            <pc:sldMasterMk cId="1152879639" sldId="2147485397"/>
            <pc:sldLayoutMk cId="705083525" sldId="2147485420"/>
          </pc:sldLayoutMkLst>
        </pc:sldLayoutChg>
        <pc:sldLayoutChg chg="del">
          <pc:chgData name="Erick Moore" userId="96a732b2-26bb-45da-b8ee-37851dfdb22e" providerId="ADAL" clId="{421EFE58-C744-487C-8529-5E403829B24E}" dt="2021-08-17T19:10:07.139" v="1783" actId="2696"/>
          <pc:sldLayoutMkLst>
            <pc:docMk/>
            <pc:sldMasterMk cId="1152879639" sldId="2147485397"/>
            <pc:sldLayoutMk cId="91398692" sldId="2147485421"/>
          </pc:sldLayoutMkLst>
        </pc:sldLayoutChg>
        <pc:sldLayoutChg chg="del">
          <pc:chgData name="Erick Moore" userId="96a732b2-26bb-45da-b8ee-37851dfdb22e" providerId="ADAL" clId="{421EFE58-C744-487C-8529-5E403829B24E}" dt="2021-08-17T19:10:07.143" v="1784" actId="2696"/>
          <pc:sldLayoutMkLst>
            <pc:docMk/>
            <pc:sldMasterMk cId="1152879639" sldId="2147485397"/>
            <pc:sldLayoutMk cId="159981059" sldId="2147485422"/>
          </pc:sldLayoutMkLst>
        </pc:sldLayoutChg>
        <pc:sldLayoutChg chg="del">
          <pc:chgData name="Erick Moore" userId="96a732b2-26bb-45da-b8ee-37851dfdb22e" providerId="ADAL" clId="{421EFE58-C744-487C-8529-5E403829B24E}" dt="2021-08-17T19:10:07.146" v="1785" actId="2696"/>
          <pc:sldLayoutMkLst>
            <pc:docMk/>
            <pc:sldMasterMk cId="1152879639" sldId="2147485397"/>
            <pc:sldLayoutMk cId="904283738" sldId="2147485423"/>
          </pc:sldLayoutMkLst>
        </pc:sldLayoutChg>
        <pc:sldLayoutChg chg="del">
          <pc:chgData name="Erick Moore" userId="96a732b2-26bb-45da-b8ee-37851dfdb22e" providerId="ADAL" clId="{421EFE58-C744-487C-8529-5E403829B24E}" dt="2021-08-17T19:10:07.151" v="1786" actId="2696"/>
          <pc:sldLayoutMkLst>
            <pc:docMk/>
            <pc:sldMasterMk cId="1152879639" sldId="2147485397"/>
            <pc:sldLayoutMk cId="200174381" sldId="2147485424"/>
          </pc:sldLayoutMkLst>
        </pc:sldLayoutChg>
        <pc:sldLayoutChg chg="del">
          <pc:chgData name="Erick Moore" userId="96a732b2-26bb-45da-b8ee-37851dfdb22e" providerId="ADAL" clId="{421EFE58-C744-487C-8529-5E403829B24E}" dt="2021-08-17T19:10:07.156" v="1787" actId="2696"/>
          <pc:sldLayoutMkLst>
            <pc:docMk/>
            <pc:sldMasterMk cId="1152879639" sldId="2147485397"/>
            <pc:sldLayoutMk cId="1922646394" sldId="2147485425"/>
          </pc:sldLayoutMkLst>
        </pc:sldLayoutChg>
        <pc:sldLayoutChg chg="del">
          <pc:chgData name="Erick Moore" userId="96a732b2-26bb-45da-b8ee-37851dfdb22e" providerId="ADAL" clId="{421EFE58-C744-487C-8529-5E403829B24E}" dt="2021-08-17T19:10:07.161" v="1788" actId="2696"/>
          <pc:sldLayoutMkLst>
            <pc:docMk/>
            <pc:sldMasterMk cId="1152879639" sldId="2147485397"/>
            <pc:sldLayoutMk cId="505606425" sldId="2147485426"/>
          </pc:sldLayoutMkLst>
        </pc:sldLayoutChg>
        <pc:sldLayoutChg chg="del">
          <pc:chgData name="Erick Moore" userId="96a732b2-26bb-45da-b8ee-37851dfdb22e" providerId="ADAL" clId="{421EFE58-C744-487C-8529-5E403829B24E}" dt="2021-08-17T19:10:07.167" v="1789" actId="2696"/>
          <pc:sldLayoutMkLst>
            <pc:docMk/>
            <pc:sldMasterMk cId="1152879639" sldId="2147485397"/>
            <pc:sldLayoutMk cId="600108585" sldId="2147485427"/>
          </pc:sldLayoutMkLst>
        </pc:sldLayoutChg>
        <pc:sldLayoutChg chg="del">
          <pc:chgData name="Erick Moore" userId="96a732b2-26bb-45da-b8ee-37851dfdb22e" providerId="ADAL" clId="{421EFE58-C744-487C-8529-5E403829B24E}" dt="2021-08-17T19:10:07.171" v="1790" actId="2696"/>
          <pc:sldLayoutMkLst>
            <pc:docMk/>
            <pc:sldMasterMk cId="1152879639" sldId="2147485397"/>
            <pc:sldLayoutMk cId="3230718995" sldId="2147485428"/>
          </pc:sldLayoutMkLst>
        </pc:sldLayoutChg>
        <pc:sldLayoutChg chg="del">
          <pc:chgData name="Erick Moore" userId="96a732b2-26bb-45da-b8ee-37851dfdb22e" providerId="ADAL" clId="{421EFE58-C744-487C-8529-5E403829B24E}" dt="2021-08-17T19:10:07.174" v="1791" actId="2696"/>
          <pc:sldLayoutMkLst>
            <pc:docMk/>
            <pc:sldMasterMk cId="1152879639" sldId="2147485397"/>
            <pc:sldLayoutMk cId="2015253855" sldId="2147485429"/>
          </pc:sldLayoutMkLst>
        </pc:sldLayoutChg>
        <pc:sldLayoutChg chg="del">
          <pc:chgData name="Erick Moore" userId="96a732b2-26bb-45da-b8ee-37851dfdb22e" providerId="ADAL" clId="{421EFE58-C744-487C-8529-5E403829B24E}" dt="2021-08-17T19:10:07.178" v="1792" actId="2696"/>
          <pc:sldLayoutMkLst>
            <pc:docMk/>
            <pc:sldMasterMk cId="1152879639" sldId="2147485397"/>
            <pc:sldLayoutMk cId="2967774578" sldId="2147485430"/>
          </pc:sldLayoutMkLst>
        </pc:sldLayoutChg>
        <pc:sldLayoutChg chg="del">
          <pc:chgData name="Erick Moore" userId="96a732b2-26bb-45da-b8ee-37851dfdb22e" providerId="ADAL" clId="{421EFE58-C744-487C-8529-5E403829B24E}" dt="2021-08-17T19:10:07.181" v="1793" actId="2696"/>
          <pc:sldLayoutMkLst>
            <pc:docMk/>
            <pc:sldMasterMk cId="1152879639" sldId="2147485397"/>
            <pc:sldLayoutMk cId="2298451567" sldId="2147485431"/>
          </pc:sldLayoutMkLst>
        </pc:sldLayoutChg>
        <pc:sldLayoutChg chg="del">
          <pc:chgData name="Erick Moore" userId="96a732b2-26bb-45da-b8ee-37851dfdb22e" providerId="ADAL" clId="{421EFE58-C744-487C-8529-5E403829B24E}" dt="2021-08-17T19:10:07.184" v="1794" actId="2696"/>
          <pc:sldLayoutMkLst>
            <pc:docMk/>
            <pc:sldMasterMk cId="1152879639" sldId="2147485397"/>
            <pc:sldLayoutMk cId="3562758995" sldId="2147485432"/>
          </pc:sldLayoutMkLst>
        </pc:sldLayoutChg>
        <pc:sldLayoutChg chg="del">
          <pc:chgData name="Erick Moore" userId="96a732b2-26bb-45da-b8ee-37851dfdb22e" providerId="ADAL" clId="{421EFE58-C744-487C-8529-5E403829B24E}" dt="2021-08-17T19:10:07.189" v="1795" actId="2696"/>
          <pc:sldLayoutMkLst>
            <pc:docMk/>
            <pc:sldMasterMk cId="1152879639" sldId="2147485397"/>
            <pc:sldLayoutMk cId="2110074583" sldId="2147485433"/>
          </pc:sldLayoutMkLst>
        </pc:sldLayoutChg>
        <pc:sldLayoutChg chg="del">
          <pc:chgData name="Erick Moore" userId="96a732b2-26bb-45da-b8ee-37851dfdb22e" providerId="ADAL" clId="{421EFE58-C744-487C-8529-5E403829B24E}" dt="2021-08-17T19:10:07.193" v="1796" actId="2696"/>
          <pc:sldLayoutMkLst>
            <pc:docMk/>
            <pc:sldMasterMk cId="1152879639" sldId="2147485397"/>
            <pc:sldLayoutMk cId="2443437822" sldId="2147485434"/>
          </pc:sldLayoutMkLst>
        </pc:sldLayoutChg>
        <pc:sldLayoutChg chg="del">
          <pc:chgData name="Erick Moore" userId="96a732b2-26bb-45da-b8ee-37851dfdb22e" providerId="ADAL" clId="{421EFE58-C744-487C-8529-5E403829B24E}" dt="2021-08-17T19:10:07.196" v="1797" actId="2696"/>
          <pc:sldLayoutMkLst>
            <pc:docMk/>
            <pc:sldMasterMk cId="1152879639" sldId="2147485397"/>
            <pc:sldLayoutMk cId="3994063986" sldId="2147485435"/>
          </pc:sldLayoutMkLst>
        </pc:sldLayoutChg>
        <pc:sldLayoutChg chg="del">
          <pc:chgData name="Erick Moore" userId="96a732b2-26bb-45da-b8ee-37851dfdb22e" providerId="ADAL" clId="{421EFE58-C744-487C-8529-5E403829B24E}" dt="2021-08-17T19:10:07.199" v="1798" actId="2696"/>
          <pc:sldLayoutMkLst>
            <pc:docMk/>
            <pc:sldMasterMk cId="1152879639" sldId="2147485397"/>
            <pc:sldLayoutMk cId="3067846661" sldId="2147485436"/>
          </pc:sldLayoutMkLst>
        </pc:sldLayoutChg>
        <pc:sldLayoutChg chg="del">
          <pc:chgData name="Erick Moore" userId="96a732b2-26bb-45da-b8ee-37851dfdb22e" providerId="ADAL" clId="{421EFE58-C744-487C-8529-5E403829B24E}" dt="2021-08-17T19:10:07.202" v="1799" actId="2696"/>
          <pc:sldLayoutMkLst>
            <pc:docMk/>
            <pc:sldMasterMk cId="1152879639" sldId="2147485397"/>
            <pc:sldLayoutMk cId="4284627584" sldId="2147485437"/>
          </pc:sldLayoutMkLst>
        </pc:sldLayoutChg>
        <pc:sldLayoutChg chg="del">
          <pc:chgData name="Erick Moore" userId="96a732b2-26bb-45da-b8ee-37851dfdb22e" providerId="ADAL" clId="{421EFE58-C744-487C-8529-5E403829B24E}" dt="2021-08-17T19:10:07.204" v="1800" actId="2696"/>
          <pc:sldLayoutMkLst>
            <pc:docMk/>
            <pc:sldMasterMk cId="1152879639" sldId="2147485397"/>
            <pc:sldLayoutMk cId="3490738564" sldId="2147485438"/>
          </pc:sldLayoutMkLst>
        </pc:sldLayoutChg>
        <pc:sldLayoutChg chg="del">
          <pc:chgData name="Erick Moore" userId="96a732b2-26bb-45da-b8ee-37851dfdb22e" providerId="ADAL" clId="{421EFE58-C744-487C-8529-5E403829B24E}" dt="2021-08-17T19:10:07.208" v="1801" actId="2696"/>
          <pc:sldLayoutMkLst>
            <pc:docMk/>
            <pc:sldMasterMk cId="1152879639" sldId="2147485397"/>
            <pc:sldLayoutMk cId="763921867" sldId="2147485439"/>
          </pc:sldLayoutMkLst>
        </pc:sldLayoutChg>
        <pc:sldLayoutChg chg="del">
          <pc:chgData name="Erick Moore" userId="96a732b2-26bb-45da-b8ee-37851dfdb22e" providerId="ADAL" clId="{421EFE58-C744-487C-8529-5E403829B24E}" dt="2021-08-17T19:10:07.212" v="1802" actId="2696"/>
          <pc:sldLayoutMkLst>
            <pc:docMk/>
            <pc:sldMasterMk cId="1152879639" sldId="2147485397"/>
            <pc:sldLayoutMk cId="1781291025" sldId="2147485440"/>
          </pc:sldLayoutMkLst>
        </pc:sldLayoutChg>
        <pc:sldLayoutChg chg="del">
          <pc:chgData name="Erick Moore" userId="96a732b2-26bb-45da-b8ee-37851dfdb22e" providerId="ADAL" clId="{421EFE58-C744-487C-8529-5E403829B24E}" dt="2021-08-17T19:10:07.216" v="1803" actId="2696"/>
          <pc:sldLayoutMkLst>
            <pc:docMk/>
            <pc:sldMasterMk cId="1152879639" sldId="2147485397"/>
            <pc:sldLayoutMk cId="2556333787" sldId="2147485441"/>
          </pc:sldLayoutMkLst>
        </pc:sldLayoutChg>
        <pc:sldLayoutChg chg="del">
          <pc:chgData name="Erick Moore" userId="96a732b2-26bb-45da-b8ee-37851dfdb22e" providerId="ADAL" clId="{421EFE58-C744-487C-8529-5E403829B24E}" dt="2021-08-17T19:10:07.220" v="1804" actId="2696"/>
          <pc:sldLayoutMkLst>
            <pc:docMk/>
            <pc:sldMasterMk cId="1152879639" sldId="2147485397"/>
            <pc:sldLayoutMk cId="2829627144" sldId="2147485442"/>
          </pc:sldLayoutMkLst>
        </pc:sldLayoutChg>
        <pc:sldLayoutChg chg="del">
          <pc:chgData name="Erick Moore" userId="96a732b2-26bb-45da-b8ee-37851dfdb22e" providerId="ADAL" clId="{421EFE58-C744-487C-8529-5E403829B24E}" dt="2021-08-17T19:10:07.224" v="1805" actId="2696"/>
          <pc:sldLayoutMkLst>
            <pc:docMk/>
            <pc:sldMasterMk cId="1152879639" sldId="2147485397"/>
            <pc:sldLayoutMk cId="762595059" sldId="2147485443"/>
          </pc:sldLayoutMkLst>
        </pc:sldLayoutChg>
        <pc:sldLayoutChg chg="del">
          <pc:chgData name="Erick Moore" userId="96a732b2-26bb-45da-b8ee-37851dfdb22e" providerId="ADAL" clId="{421EFE58-C744-487C-8529-5E403829B24E}" dt="2021-08-17T19:10:07.227" v="1806" actId="2696"/>
          <pc:sldLayoutMkLst>
            <pc:docMk/>
            <pc:sldMasterMk cId="1152879639" sldId="2147485397"/>
            <pc:sldLayoutMk cId="2437957187" sldId="2147485444"/>
          </pc:sldLayoutMkLst>
        </pc:sldLayoutChg>
        <pc:sldLayoutChg chg="del">
          <pc:chgData name="Erick Moore" userId="96a732b2-26bb-45da-b8ee-37851dfdb22e" providerId="ADAL" clId="{421EFE58-C744-487C-8529-5E403829B24E}" dt="2021-08-17T19:10:07.230" v="1807" actId="2696"/>
          <pc:sldLayoutMkLst>
            <pc:docMk/>
            <pc:sldMasterMk cId="1152879639" sldId="2147485397"/>
            <pc:sldLayoutMk cId="2904486695" sldId="2147485445"/>
          </pc:sldLayoutMkLst>
        </pc:sldLayoutChg>
        <pc:sldLayoutChg chg="del">
          <pc:chgData name="Erick Moore" userId="96a732b2-26bb-45da-b8ee-37851dfdb22e" providerId="ADAL" clId="{421EFE58-C744-487C-8529-5E403829B24E}" dt="2021-08-17T19:10:07.233" v="1808" actId="2696"/>
          <pc:sldLayoutMkLst>
            <pc:docMk/>
            <pc:sldMasterMk cId="1152879639" sldId="2147485397"/>
            <pc:sldLayoutMk cId="4048539857" sldId="2147485446"/>
          </pc:sldLayoutMkLst>
        </pc:sldLayoutChg>
        <pc:sldLayoutChg chg="del">
          <pc:chgData name="Erick Moore" userId="96a732b2-26bb-45da-b8ee-37851dfdb22e" providerId="ADAL" clId="{421EFE58-C744-487C-8529-5E403829B24E}" dt="2021-08-17T19:10:07.235" v="1809" actId="2696"/>
          <pc:sldLayoutMkLst>
            <pc:docMk/>
            <pc:sldMasterMk cId="1152879639" sldId="2147485397"/>
            <pc:sldLayoutMk cId="200179132" sldId="2147485447"/>
          </pc:sldLayoutMkLst>
        </pc:sldLayoutChg>
      </pc:sldMasterChg>
      <pc:sldMasterChg chg="del delSldLayout">
        <pc:chgData name="Erick Moore" userId="96a732b2-26bb-45da-b8ee-37851dfdb22e" providerId="ADAL" clId="{421EFE58-C744-487C-8529-5E403829B24E}" dt="2021-08-17T19:10:40.777" v="1826" actId="2696"/>
        <pc:sldMasterMkLst>
          <pc:docMk/>
          <pc:sldMasterMk cId="1185782556" sldId="2147485484"/>
        </pc:sldMasterMkLst>
        <pc:sldLayoutChg chg="del">
          <pc:chgData name="Erick Moore" userId="96a732b2-26bb-45da-b8ee-37851dfdb22e" providerId="ADAL" clId="{421EFE58-C744-487C-8529-5E403829B24E}" dt="2021-08-17T19:10:40.723" v="1812" actId="2696"/>
          <pc:sldLayoutMkLst>
            <pc:docMk/>
            <pc:sldMasterMk cId="1185782556" sldId="2147485484"/>
            <pc:sldLayoutMk cId="1610980273" sldId="2147485485"/>
          </pc:sldLayoutMkLst>
        </pc:sldLayoutChg>
        <pc:sldLayoutChg chg="del">
          <pc:chgData name="Erick Moore" userId="96a732b2-26bb-45da-b8ee-37851dfdb22e" providerId="ADAL" clId="{421EFE58-C744-487C-8529-5E403829B24E}" dt="2021-08-17T19:10:40.730" v="1813" actId="2696"/>
          <pc:sldLayoutMkLst>
            <pc:docMk/>
            <pc:sldMasterMk cId="1185782556" sldId="2147485484"/>
            <pc:sldLayoutMk cId="456320720" sldId="2147485486"/>
          </pc:sldLayoutMkLst>
        </pc:sldLayoutChg>
        <pc:sldLayoutChg chg="del">
          <pc:chgData name="Erick Moore" userId="96a732b2-26bb-45da-b8ee-37851dfdb22e" providerId="ADAL" clId="{421EFE58-C744-487C-8529-5E403829B24E}" dt="2021-08-17T19:10:40.733" v="1814" actId="2696"/>
          <pc:sldLayoutMkLst>
            <pc:docMk/>
            <pc:sldMasterMk cId="1185782556" sldId="2147485484"/>
            <pc:sldLayoutMk cId="1746705718" sldId="2147485487"/>
          </pc:sldLayoutMkLst>
        </pc:sldLayoutChg>
        <pc:sldLayoutChg chg="del">
          <pc:chgData name="Erick Moore" userId="96a732b2-26bb-45da-b8ee-37851dfdb22e" providerId="ADAL" clId="{421EFE58-C744-487C-8529-5E403829B24E}" dt="2021-08-17T19:10:40.737" v="1815" actId="2696"/>
          <pc:sldLayoutMkLst>
            <pc:docMk/>
            <pc:sldMasterMk cId="1185782556" sldId="2147485484"/>
            <pc:sldLayoutMk cId="1926044478" sldId="2147485488"/>
          </pc:sldLayoutMkLst>
        </pc:sldLayoutChg>
        <pc:sldLayoutChg chg="del">
          <pc:chgData name="Erick Moore" userId="96a732b2-26bb-45da-b8ee-37851dfdb22e" providerId="ADAL" clId="{421EFE58-C744-487C-8529-5E403829B24E}" dt="2021-08-17T19:10:40.741" v="1816" actId="2696"/>
          <pc:sldLayoutMkLst>
            <pc:docMk/>
            <pc:sldMasterMk cId="1185782556" sldId="2147485484"/>
            <pc:sldLayoutMk cId="3756293258" sldId="2147485489"/>
          </pc:sldLayoutMkLst>
        </pc:sldLayoutChg>
        <pc:sldLayoutChg chg="del">
          <pc:chgData name="Erick Moore" userId="96a732b2-26bb-45da-b8ee-37851dfdb22e" providerId="ADAL" clId="{421EFE58-C744-487C-8529-5E403829B24E}" dt="2021-08-17T19:10:40.745" v="1817" actId="2696"/>
          <pc:sldLayoutMkLst>
            <pc:docMk/>
            <pc:sldMasterMk cId="1185782556" sldId="2147485484"/>
            <pc:sldLayoutMk cId="3139072506" sldId="2147485490"/>
          </pc:sldLayoutMkLst>
        </pc:sldLayoutChg>
        <pc:sldLayoutChg chg="del">
          <pc:chgData name="Erick Moore" userId="96a732b2-26bb-45da-b8ee-37851dfdb22e" providerId="ADAL" clId="{421EFE58-C744-487C-8529-5E403829B24E}" dt="2021-08-17T19:10:40.748" v="1818" actId="2696"/>
          <pc:sldLayoutMkLst>
            <pc:docMk/>
            <pc:sldMasterMk cId="1185782556" sldId="2147485484"/>
            <pc:sldLayoutMk cId="3213674390" sldId="2147485491"/>
          </pc:sldLayoutMkLst>
        </pc:sldLayoutChg>
        <pc:sldLayoutChg chg="del">
          <pc:chgData name="Erick Moore" userId="96a732b2-26bb-45da-b8ee-37851dfdb22e" providerId="ADAL" clId="{421EFE58-C744-487C-8529-5E403829B24E}" dt="2021-08-17T19:10:40.753" v="1819" actId="2696"/>
          <pc:sldLayoutMkLst>
            <pc:docMk/>
            <pc:sldMasterMk cId="1185782556" sldId="2147485484"/>
            <pc:sldLayoutMk cId="3296405979" sldId="2147485492"/>
          </pc:sldLayoutMkLst>
        </pc:sldLayoutChg>
        <pc:sldLayoutChg chg="del">
          <pc:chgData name="Erick Moore" userId="96a732b2-26bb-45da-b8ee-37851dfdb22e" providerId="ADAL" clId="{421EFE58-C744-487C-8529-5E403829B24E}" dt="2021-08-17T19:10:40.756" v="1820" actId="2696"/>
          <pc:sldLayoutMkLst>
            <pc:docMk/>
            <pc:sldMasterMk cId="1185782556" sldId="2147485484"/>
            <pc:sldLayoutMk cId="2051566492" sldId="2147485493"/>
          </pc:sldLayoutMkLst>
        </pc:sldLayoutChg>
        <pc:sldLayoutChg chg="del">
          <pc:chgData name="Erick Moore" userId="96a732b2-26bb-45da-b8ee-37851dfdb22e" providerId="ADAL" clId="{421EFE58-C744-487C-8529-5E403829B24E}" dt="2021-08-17T19:10:40.759" v="1821" actId="2696"/>
          <pc:sldLayoutMkLst>
            <pc:docMk/>
            <pc:sldMasterMk cId="1185782556" sldId="2147485484"/>
            <pc:sldLayoutMk cId="1918958548" sldId="2147485494"/>
          </pc:sldLayoutMkLst>
        </pc:sldLayoutChg>
        <pc:sldLayoutChg chg="del">
          <pc:chgData name="Erick Moore" userId="96a732b2-26bb-45da-b8ee-37851dfdb22e" providerId="ADAL" clId="{421EFE58-C744-487C-8529-5E403829B24E}" dt="2021-08-17T19:10:40.762" v="1822" actId="2696"/>
          <pc:sldLayoutMkLst>
            <pc:docMk/>
            <pc:sldMasterMk cId="1185782556" sldId="2147485484"/>
            <pc:sldLayoutMk cId="952364678" sldId="2147485495"/>
          </pc:sldLayoutMkLst>
        </pc:sldLayoutChg>
        <pc:sldLayoutChg chg="del">
          <pc:chgData name="Erick Moore" userId="96a732b2-26bb-45da-b8ee-37851dfdb22e" providerId="ADAL" clId="{421EFE58-C744-487C-8529-5E403829B24E}" dt="2021-08-17T19:10:40.765" v="1823" actId="2696"/>
          <pc:sldLayoutMkLst>
            <pc:docMk/>
            <pc:sldMasterMk cId="1185782556" sldId="2147485484"/>
            <pc:sldLayoutMk cId="43401310" sldId="2147485496"/>
          </pc:sldLayoutMkLst>
        </pc:sldLayoutChg>
        <pc:sldLayoutChg chg="del">
          <pc:chgData name="Erick Moore" userId="96a732b2-26bb-45da-b8ee-37851dfdb22e" providerId="ADAL" clId="{421EFE58-C744-487C-8529-5E403829B24E}" dt="2021-08-17T19:10:40.767" v="1824" actId="2696"/>
          <pc:sldLayoutMkLst>
            <pc:docMk/>
            <pc:sldMasterMk cId="1185782556" sldId="2147485484"/>
            <pc:sldLayoutMk cId="858713015" sldId="2147485497"/>
          </pc:sldLayoutMkLst>
        </pc:sldLayoutChg>
        <pc:sldLayoutChg chg="del">
          <pc:chgData name="Erick Moore" userId="96a732b2-26bb-45da-b8ee-37851dfdb22e" providerId="ADAL" clId="{421EFE58-C744-487C-8529-5E403829B24E}" dt="2021-08-17T19:10:40.770" v="1825" actId="2696"/>
          <pc:sldLayoutMkLst>
            <pc:docMk/>
            <pc:sldMasterMk cId="1185782556" sldId="2147485484"/>
            <pc:sldLayoutMk cId="2007659218" sldId="2147485498"/>
          </pc:sldLayoutMkLst>
        </pc:sldLayoutChg>
      </pc:sldMasterChg>
    </pc:docChg>
  </pc:docChgLst>
  <pc:docChgLst>
    <pc:chgData name="Saj Sasi" userId="dd3f6ec5-edb7-4aaf-9f1b-5731ee185bab" providerId="ADAL" clId="{27F0D98D-83F2-424B-92E5-C00BB0864272}"/>
    <pc:docChg chg="custSel modSld">
      <pc:chgData name="Saj Sasi" userId="dd3f6ec5-edb7-4aaf-9f1b-5731ee185bab" providerId="ADAL" clId="{27F0D98D-83F2-424B-92E5-C00BB0864272}" dt="2021-09-14T14:55:36.590" v="73"/>
      <pc:docMkLst>
        <pc:docMk/>
      </pc:docMkLst>
      <pc:sldChg chg="addCm modNotesTx">
        <pc:chgData name="Saj Sasi" userId="dd3f6ec5-edb7-4aaf-9f1b-5731ee185bab" providerId="ADAL" clId="{27F0D98D-83F2-424B-92E5-C00BB0864272}" dt="2021-09-14T13:23:36.046" v="44"/>
        <pc:sldMkLst>
          <pc:docMk/>
          <pc:sldMk cId="624349999" sldId="860"/>
        </pc:sldMkLst>
      </pc:sldChg>
      <pc:sldChg chg="addCm modCm">
        <pc:chgData name="Saj Sasi" userId="dd3f6ec5-edb7-4aaf-9f1b-5731ee185bab" providerId="ADAL" clId="{27F0D98D-83F2-424B-92E5-C00BB0864272}" dt="2021-09-14T14:55:36.590" v="73"/>
        <pc:sldMkLst>
          <pc:docMk/>
          <pc:sldMk cId="3658315723" sldId="4354"/>
        </pc:sldMkLst>
      </pc:sldChg>
      <pc:sldChg chg="addCm modCm modNotesTx">
        <pc:chgData name="Saj Sasi" userId="dd3f6ec5-edb7-4aaf-9f1b-5731ee185bab" providerId="ADAL" clId="{27F0D98D-83F2-424B-92E5-C00BB0864272}" dt="2021-09-14T12:57:24.568" v="28"/>
        <pc:sldMkLst>
          <pc:docMk/>
          <pc:sldMk cId="3079443981" sldId="2145705928"/>
        </pc:sldMkLst>
      </pc:sldChg>
      <pc:sldChg chg="addCm modNotesTx">
        <pc:chgData name="Saj Sasi" userId="dd3f6ec5-edb7-4aaf-9f1b-5731ee185bab" providerId="ADAL" clId="{27F0D98D-83F2-424B-92E5-C00BB0864272}" dt="2021-09-14T12:58:04.641" v="29"/>
        <pc:sldMkLst>
          <pc:docMk/>
          <pc:sldMk cId="48680643" sldId="2145705929"/>
        </pc:sldMkLst>
      </pc:sldChg>
      <pc:sldChg chg="addCm modCm">
        <pc:chgData name="Saj Sasi" userId="dd3f6ec5-edb7-4aaf-9f1b-5731ee185bab" providerId="ADAL" clId="{27F0D98D-83F2-424B-92E5-C00BB0864272}" dt="2021-09-14T13:03:47.850" v="31"/>
        <pc:sldMkLst>
          <pc:docMk/>
          <pc:sldMk cId="3804043620" sldId="2145705933"/>
        </pc:sldMkLst>
      </pc:sldChg>
      <pc:sldChg chg="modNotesTx">
        <pc:chgData name="Saj Sasi" userId="dd3f6ec5-edb7-4aaf-9f1b-5731ee185bab" providerId="ADAL" clId="{27F0D98D-83F2-424B-92E5-C00BB0864272}" dt="2021-09-14T13:17:17.113" v="39" actId="20577"/>
        <pc:sldMkLst>
          <pc:docMk/>
          <pc:sldMk cId="645501948" sldId="2145705939"/>
        </pc:sldMkLst>
      </pc:sldChg>
      <pc:sldChg chg="modNotesTx">
        <pc:chgData name="Saj Sasi" userId="dd3f6ec5-edb7-4aaf-9f1b-5731ee185bab" providerId="ADAL" clId="{27F0D98D-83F2-424B-92E5-C00BB0864272}" dt="2021-09-14T13:27:00.443" v="59" actId="20577"/>
        <pc:sldMkLst>
          <pc:docMk/>
          <pc:sldMk cId="1912072633" sldId="2145705941"/>
        </pc:sldMkLst>
      </pc:sldChg>
      <pc:sldChg chg="modNotesTx">
        <pc:chgData name="Saj Sasi" userId="dd3f6ec5-edb7-4aaf-9f1b-5731ee185bab" providerId="ADAL" clId="{27F0D98D-83F2-424B-92E5-C00BB0864272}" dt="2021-09-14T13:34:18.122" v="72" actId="20577"/>
        <pc:sldMkLst>
          <pc:docMk/>
          <pc:sldMk cId="2399568738" sldId="2145705963"/>
        </pc:sldMkLst>
      </pc:sldChg>
    </pc:docChg>
  </pc:docChgLst>
  <pc:docChgLst>
    <pc:chgData name="Jonathan Vella" userId="ff59d9e4-9df8-4ae6-90e3-b837e2f6651b" providerId="ADAL" clId="{24713126-F72B-4647-8ADE-102A421FCA5F}"/>
    <pc:docChg chg="delSld">
      <pc:chgData name="Jonathan Vella" userId="ff59d9e4-9df8-4ae6-90e3-b837e2f6651b" providerId="ADAL" clId="{24713126-F72B-4647-8ADE-102A421FCA5F}" dt="2022-03-29T10:56:47.212" v="1" actId="47"/>
      <pc:docMkLst>
        <pc:docMk/>
      </pc:docMkLst>
      <pc:sldChg chg="del">
        <pc:chgData name="Jonathan Vella" userId="ff59d9e4-9df8-4ae6-90e3-b837e2f6651b" providerId="ADAL" clId="{24713126-F72B-4647-8ADE-102A421FCA5F}" dt="2022-03-29T10:56:47.212" v="1" actId="47"/>
        <pc:sldMkLst>
          <pc:docMk/>
          <pc:sldMk cId="4277247487" sldId="2145705988"/>
        </pc:sldMkLst>
      </pc:sldChg>
      <pc:sldChg chg="del">
        <pc:chgData name="Jonathan Vella" userId="ff59d9e4-9df8-4ae6-90e3-b837e2f6651b" providerId="ADAL" clId="{24713126-F72B-4647-8ADE-102A421FCA5F}" dt="2022-03-29T10:56:28.104" v="0" actId="47"/>
        <pc:sldMkLst>
          <pc:docMk/>
          <pc:sldMk cId="2921261209" sldId="2147469828"/>
        </pc:sldMkLst>
      </pc:sldChg>
    </pc:docChg>
  </pc:docChgLst>
  <pc:docChgLst>
    <pc:chgData name="Erick Moore" userId="96a732b2-26bb-45da-b8ee-37851dfdb22e" providerId="ADAL" clId="{7939EC25-6FE8-45E7-9CDC-F713F141A605}"/>
    <pc:docChg chg="undo custSel modSld">
      <pc:chgData name="Erick Moore" userId="96a732b2-26bb-45da-b8ee-37851dfdb22e" providerId="ADAL" clId="{7939EC25-6FE8-45E7-9CDC-F713F141A605}" dt="2021-10-19T17:31:44.686" v="1542"/>
      <pc:docMkLst>
        <pc:docMk/>
      </pc:docMkLst>
      <pc:sldChg chg="addSp modSp mod modNotesTx">
        <pc:chgData name="Erick Moore" userId="96a732b2-26bb-45da-b8ee-37851dfdb22e" providerId="ADAL" clId="{7939EC25-6FE8-45E7-9CDC-F713F141A605}" dt="2021-10-19T17:13:57.080" v="781" actId="1076"/>
        <pc:sldMkLst>
          <pc:docMk/>
          <pc:sldMk cId="2957638688" sldId="2076136473"/>
        </pc:sldMkLst>
        <pc:spChg chg="mod">
          <ac:chgData name="Erick Moore" userId="96a732b2-26bb-45da-b8ee-37851dfdb22e" providerId="ADAL" clId="{7939EC25-6FE8-45E7-9CDC-F713F141A605}" dt="2021-10-19T17:07:04.168" v="395" actId="1076"/>
          <ac:spMkLst>
            <pc:docMk/>
            <pc:sldMk cId="2957638688" sldId="2076136473"/>
            <ac:spMk id="6" creationId="{C903219C-64BA-41C3-B8C8-80A269C8312E}"/>
          </ac:spMkLst>
        </pc:spChg>
        <pc:spChg chg="mod">
          <ac:chgData name="Erick Moore" userId="96a732b2-26bb-45da-b8ee-37851dfdb22e" providerId="ADAL" clId="{7939EC25-6FE8-45E7-9CDC-F713F141A605}" dt="2021-10-19T17:13:57.080" v="781" actId="1076"/>
          <ac:spMkLst>
            <pc:docMk/>
            <pc:sldMk cId="2957638688" sldId="2076136473"/>
            <ac:spMk id="8" creationId="{B8F922CC-4D7D-43FB-9BB3-7C765CC58DAF}"/>
          </ac:spMkLst>
        </pc:spChg>
        <pc:picChg chg="mod">
          <ac:chgData name="Erick Moore" userId="96a732b2-26bb-45da-b8ee-37851dfdb22e" providerId="ADAL" clId="{7939EC25-6FE8-45E7-9CDC-F713F141A605}" dt="2021-10-19T17:08:33.559" v="429" actId="1440"/>
          <ac:picMkLst>
            <pc:docMk/>
            <pc:sldMk cId="2957638688" sldId="2076136473"/>
            <ac:picMk id="10" creationId="{3A644E8A-43E9-4F46-84EF-05FE6493957F}"/>
          </ac:picMkLst>
        </pc:picChg>
        <pc:cxnChg chg="add mod">
          <ac:chgData name="Erick Moore" userId="96a732b2-26bb-45da-b8ee-37851dfdb22e" providerId="ADAL" clId="{7939EC25-6FE8-45E7-9CDC-F713F141A605}" dt="2021-10-19T17:12:03.227" v="450"/>
          <ac:cxnSpMkLst>
            <pc:docMk/>
            <pc:sldMk cId="2957638688" sldId="2076136473"/>
            <ac:cxnSpMk id="5" creationId="{0296C085-C1EC-4C35-90D5-B40FE156B15D}"/>
          </ac:cxnSpMkLst>
        </pc:cxnChg>
      </pc:sldChg>
      <pc:sldChg chg="addSp delSp modSp mod modTransition modNotesTx">
        <pc:chgData name="Erick Moore" userId="96a732b2-26bb-45da-b8ee-37851dfdb22e" providerId="ADAL" clId="{7939EC25-6FE8-45E7-9CDC-F713F141A605}" dt="2021-10-19T17:26:01.080" v="1480" actId="20577"/>
        <pc:sldMkLst>
          <pc:docMk/>
          <pc:sldMk cId="1652592379" sldId="2145705966"/>
        </pc:sldMkLst>
        <pc:spChg chg="mod">
          <ac:chgData name="Erick Moore" userId="96a732b2-26bb-45da-b8ee-37851dfdb22e" providerId="ADAL" clId="{7939EC25-6FE8-45E7-9CDC-F713F141A605}" dt="2021-10-19T17:21:28.903" v="1106" actId="122"/>
          <ac:spMkLst>
            <pc:docMk/>
            <pc:sldMk cId="1652592379" sldId="2145705966"/>
            <ac:spMk id="10" creationId="{8F87EDC1-FE10-4B1D-BF81-0B59B2F3BD54}"/>
          </ac:spMkLst>
        </pc:spChg>
        <pc:picChg chg="add mod">
          <ac:chgData name="Erick Moore" userId="96a732b2-26bb-45da-b8ee-37851dfdb22e" providerId="ADAL" clId="{7939EC25-6FE8-45E7-9CDC-F713F141A605}" dt="2021-10-19T17:23:33.731" v="1115" actId="1076"/>
          <ac:picMkLst>
            <pc:docMk/>
            <pc:sldMk cId="1652592379" sldId="2145705966"/>
            <ac:picMk id="3" creationId="{24CE3159-9975-45B5-9758-9E0372E81433}"/>
          </ac:picMkLst>
        </pc:picChg>
        <pc:picChg chg="del mod">
          <ac:chgData name="Erick Moore" userId="96a732b2-26bb-45da-b8ee-37851dfdb22e" providerId="ADAL" clId="{7939EC25-6FE8-45E7-9CDC-F713F141A605}" dt="2021-10-19T17:23:15.102" v="1107" actId="478"/>
          <ac:picMkLst>
            <pc:docMk/>
            <pc:sldMk cId="1652592379" sldId="2145705966"/>
            <ac:picMk id="9" creationId="{211192F5-664C-47D7-9903-6FFC31FDC0E7}"/>
          </ac:picMkLst>
        </pc:picChg>
        <pc:cxnChg chg="add mod">
          <ac:chgData name="Erick Moore" userId="96a732b2-26bb-45da-b8ee-37851dfdb22e" providerId="ADAL" clId="{7939EC25-6FE8-45E7-9CDC-F713F141A605}" dt="2021-10-19T17:21:16.014" v="1102"/>
          <ac:cxnSpMkLst>
            <pc:docMk/>
            <pc:sldMk cId="1652592379" sldId="2145705966"/>
            <ac:cxnSpMk id="4" creationId="{9ADB89D4-7CF7-419E-8D57-6B7BA55AF404}"/>
          </ac:cxnSpMkLst>
        </pc:cxnChg>
      </pc:sldChg>
      <pc:sldChg chg="addSp delSp modSp mod modTransition modAnim modNotesTx">
        <pc:chgData name="Erick Moore" userId="96a732b2-26bb-45da-b8ee-37851dfdb22e" providerId="ADAL" clId="{7939EC25-6FE8-45E7-9CDC-F713F141A605}" dt="2021-10-19T17:16:22.995" v="881"/>
        <pc:sldMkLst>
          <pc:docMk/>
          <pc:sldMk cId="1060865476" sldId="2145705967"/>
        </pc:sldMkLst>
        <pc:spChg chg="mod">
          <ac:chgData name="Erick Moore" userId="96a732b2-26bb-45da-b8ee-37851dfdb22e" providerId="ADAL" clId="{7939EC25-6FE8-45E7-9CDC-F713F141A605}" dt="2021-10-19T17:07:51.657" v="428" actId="1035"/>
          <ac:spMkLst>
            <pc:docMk/>
            <pc:sldMk cId="1060865476" sldId="2145705967"/>
            <ac:spMk id="2" creationId="{32CDF820-100C-453B-8DA6-E2D11D6EE5F7}"/>
          </ac:spMkLst>
        </pc:spChg>
        <pc:spChg chg="mod">
          <ac:chgData name="Erick Moore" userId="96a732b2-26bb-45da-b8ee-37851dfdb22e" providerId="ADAL" clId="{7939EC25-6FE8-45E7-9CDC-F713F141A605}" dt="2021-10-19T17:11:51.030" v="449" actId="1076"/>
          <ac:spMkLst>
            <pc:docMk/>
            <pc:sldMk cId="1060865476" sldId="2145705967"/>
            <ac:spMk id="3" creationId="{58609879-96F5-446F-99CA-5CE8169CD36B}"/>
          </ac:spMkLst>
        </pc:spChg>
        <pc:picChg chg="add del mod">
          <ac:chgData name="Erick Moore" userId="96a732b2-26bb-45da-b8ee-37851dfdb22e" providerId="ADAL" clId="{7939EC25-6FE8-45E7-9CDC-F713F141A605}" dt="2021-10-19T17:09:55.337" v="442" actId="478"/>
          <ac:picMkLst>
            <pc:docMk/>
            <pc:sldMk cId="1060865476" sldId="2145705967"/>
            <ac:picMk id="6" creationId="{2DBAA045-A577-467A-A660-555D04B6DD0A}"/>
          </ac:picMkLst>
        </pc:picChg>
        <pc:picChg chg="add mod">
          <ac:chgData name="Erick Moore" userId="96a732b2-26bb-45da-b8ee-37851dfdb22e" providerId="ADAL" clId="{7939EC25-6FE8-45E7-9CDC-F713F141A605}" dt="2021-10-19T17:11:47.018" v="448" actId="1076"/>
          <ac:picMkLst>
            <pc:docMk/>
            <pc:sldMk cId="1060865476" sldId="2145705967"/>
            <ac:picMk id="8" creationId="{ECDC0042-5046-4E7E-A6FA-83B40A1A324B}"/>
          </ac:picMkLst>
        </pc:picChg>
        <pc:cxnChg chg="add mod">
          <ac:chgData name="Erick Moore" userId="96a732b2-26bb-45da-b8ee-37851dfdb22e" providerId="ADAL" clId="{7939EC25-6FE8-45E7-9CDC-F713F141A605}" dt="2021-10-19T17:07:44.352" v="406"/>
          <ac:cxnSpMkLst>
            <pc:docMk/>
            <pc:sldMk cId="1060865476" sldId="2145705967"/>
            <ac:cxnSpMk id="4" creationId="{C6EA68AD-D54B-417D-A017-F583DB4633FF}"/>
          </ac:cxnSpMkLst>
        </pc:cxnChg>
      </pc:sldChg>
      <pc:sldChg chg="modSp mod modTransition">
        <pc:chgData name="Erick Moore" userId="96a732b2-26bb-45da-b8ee-37851dfdb22e" providerId="ADAL" clId="{7939EC25-6FE8-45E7-9CDC-F713F141A605}" dt="2021-10-19T17:16:25.245" v="882"/>
        <pc:sldMkLst>
          <pc:docMk/>
          <pc:sldMk cId="1795444465" sldId="2145705968"/>
        </pc:sldMkLst>
        <pc:spChg chg="mod">
          <ac:chgData name="Erick Moore" userId="96a732b2-26bb-45da-b8ee-37851dfdb22e" providerId="ADAL" clId="{7939EC25-6FE8-45E7-9CDC-F713F141A605}" dt="2021-10-19T17:14:44.434" v="787" actId="122"/>
          <ac:spMkLst>
            <pc:docMk/>
            <pc:sldMk cId="1795444465" sldId="2145705968"/>
            <ac:spMk id="2" creationId="{A517FD77-291A-4951-A226-402ED4B67678}"/>
          </ac:spMkLst>
        </pc:spChg>
        <pc:picChg chg="mod">
          <ac:chgData name="Erick Moore" userId="96a732b2-26bb-45da-b8ee-37851dfdb22e" providerId="ADAL" clId="{7939EC25-6FE8-45E7-9CDC-F713F141A605}" dt="2021-10-19T17:08:40.819" v="430" actId="1440"/>
          <ac:picMkLst>
            <pc:docMk/>
            <pc:sldMk cId="1795444465" sldId="2145705968"/>
            <ac:picMk id="7" creationId="{E4BBA81A-FF88-49D9-962E-8B4481BF8777}"/>
          </ac:picMkLst>
        </pc:picChg>
      </pc:sldChg>
      <pc:sldChg chg="modTransition">
        <pc:chgData name="Erick Moore" userId="96a732b2-26bb-45da-b8ee-37851dfdb22e" providerId="ADAL" clId="{7939EC25-6FE8-45E7-9CDC-F713F141A605}" dt="2021-10-19T17:16:29.385" v="883"/>
        <pc:sldMkLst>
          <pc:docMk/>
          <pc:sldMk cId="2098099604" sldId="2145705969"/>
        </pc:sldMkLst>
      </pc:sldChg>
      <pc:sldChg chg="addSp modSp mod modTransition modAnim modNotesTx">
        <pc:chgData name="Erick Moore" userId="96a732b2-26bb-45da-b8ee-37851dfdb22e" providerId="ADAL" clId="{7939EC25-6FE8-45E7-9CDC-F713F141A605}" dt="2021-10-19T17:26:25.380" v="1481"/>
        <pc:sldMkLst>
          <pc:docMk/>
          <pc:sldMk cId="2592150698" sldId="2145705970"/>
        </pc:sldMkLst>
        <pc:spChg chg="mod">
          <ac:chgData name="Erick Moore" userId="96a732b2-26bb-45da-b8ee-37851dfdb22e" providerId="ADAL" clId="{7939EC25-6FE8-45E7-9CDC-F713F141A605}" dt="2021-10-19T17:14:59.276" v="790" actId="122"/>
          <ac:spMkLst>
            <pc:docMk/>
            <pc:sldMk cId="2592150698" sldId="2145705970"/>
            <ac:spMk id="6" creationId="{DA82DD4E-DDB8-49CB-82D1-935E4AADC8F0}"/>
          </ac:spMkLst>
        </pc:spChg>
        <pc:spChg chg="mod">
          <ac:chgData name="Erick Moore" userId="96a732b2-26bb-45da-b8ee-37851dfdb22e" providerId="ADAL" clId="{7939EC25-6FE8-45E7-9CDC-F713F141A605}" dt="2021-10-19T17:18:13.396" v="1006" actId="255"/>
          <ac:spMkLst>
            <pc:docMk/>
            <pc:sldMk cId="2592150698" sldId="2145705970"/>
            <ac:spMk id="15" creationId="{1E566100-ADBB-4258-8EC3-23BBEEC9793D}"/>
          </ac:spMkLst>
        </pc:spChg>
        <pc:cxnChg chg="add mod">
          <ac:chgData name="Erick Moore" userId="96a732b2-26bb-45da-b8ee-37851dfdb22e" providerId="ADAL" clId="{7939EC25-6FE8-45E7-9CDC-F713F141A605}" dt="2021-10-19T17:15:05.409" v="791"/>
          <ac:cxnSpMkLst>
            <pc:docMk/>
            <pc:sldMk cId="2592150698" sldId="2145705970"/>
            <ac:cxnSpMk id="4" creationId="{D7C64E57-730E-4DCC-AD6D-D51197042F2F}"/>
          </ac:cxnSpMkLst>
        </pc:cxnChg>
      </pc:sldChg>
      <pc:sldChg chg="modTransition">
        <pc:chgData name="Erick Moore" userId="96a732b2-26bb-45da-b8ee-37851dfdb22e" providerId="ADAL" clId="{7939EC25-6FE8-45E7-9CDC-F713F141A605}" dt="2021-10-19T17:20:48.773" v="1098"/>
        <pc:sldMkLst>
          <pc:docMk/>
          <pc:sldMk cId="623522613" sldId="2145705971"/>
        </pc:sldMkLst>
      </pc:sldChg>
      <pc:sldChg chg="addSp modSp mod modTransition modAnim">
        <pc:chgData name="Erick Moore" userId="96a732b2-26bb-45da-b8ee-37851dfdb22e" providerId="ADAL" clId="{7939EC25-6FE8-45E7-9CDC-F713F141A605}" dt="2021-10-19T17:31:32.808" v="1540"/>
        <pc:sldMkLst>
          <pc:docMk/>
          <pc:sldMk cId="957674933" sldId="2145705972"/>
        </pc:sldMkLst>
        <pc:spChg chg="mod">
          <ac:chgData name="Erick Moore" userId="96a732b2-26bb-45da-b8ee-37851dfdb22e" providerId="ADAL" clId="{7939EC25-6FE8-45E7-9CDC-F713F141A605}" dt="2021-10-19T17:19:25.151" v="1080" actId="1076"/>
          <ac:spMkLst>
            <pc:docMk/>
            <pc:sldMk cId="957674933" sldId="2145705972"/>
            <ac:spMk id="6" creationId="{DA82DD4E-DDB8-49CB-82D1-935E4AADC8F0}"/>
          </ac:spMkLst>
        </pc:spChg>
        <pc:spChg chg="mod">
          <ac:chgData name="Erick Moore" userId="96a732b2-26bb-45da-b8ee-37851dfdb22e" providerId="ADAL" clId="{7939EC25-6FE8-45E7-9CDC-F713F141A605}" dt="2021-10-19T17:21:08.565" v="1101" actId="1076"/>
          <ac:spMkLst>
            <pc:docMk/>
            <pc:sldMk cId="957674933" sldId="2145705972"/>
            <ac:spMk id="15" creationId="{1E566100-ADBB-4258-8EC3-23BBEEC9793D}"/>
          </ac:spMkLst>
        </pc:spChg>
        <pc:picChg chg="mod">
          <ac:chgData name="Erick Moore" userId="96a732b2-26bb-45da-b8ee-37851dfdb22e" providerId="ADAL" clId="{7939EC25-6FE8-45E7-9CDC-F713F141A605}" dt="2021-10-19T17:08:54.605" v="432" actId="1440"/>
          <ac:picMkLst>
            <pc:docMk/>
            <pc:sldMk cId="957674933" sldId="2145705972"/>
            <ac:picMk id="3" creationId="{A4FDBDA7-7FD7-42CB-BFB8-010417A992F4}"/>
          </ac:picMkLst>
        </pc:picChg>
        <pc:cxnChg chg="add mod">
          <ac:chgData name="Erick Moore" userId="96a732b2-26bb-45da-b8ee-37851dfdb22e" providerId="ADAL" clId="{7939EC25-6FE8-45E7-9CDC-F713F141A605}" dt="2021-10-19T17:19:30.069" v="1081"/>
          <ac:cxnSpMkLst>
            <pc:docMk/>
            <pc:sldMk cId="957674933" sldId="2145705972"/>
            <ac:cxnSpMk id="5" creationId="{8F26159E-C143-4754-81F9-D4DBECA0FF6A}"/>
          </ac:cxnSpMkLst>
        </pc:cxnChg>
      </pc:sldChg>
      <pc:sldChg chg="addSp modSp mod modTransition modAnim">
        <pc:chgData name="Erick Moore" userId="96a732b2-26bb-45da-b8ee-37851dfdb22e" providerId="ADAL" clId="{7939EC25-6FE8-45E7-9CDC-F713F141A605}" dt="2021-10-19T17:31:44.686" v="1542"/>
        <pc:sldMkLst>
          <pc:docMk/>
          <pc:sldMk cId="3488994755" sldId="2145705974"/>
        </pc:sldMkLst>
        <pc:spChg chg="mod">
          <ac:chgData name="Erick Moore" userId="96a732b2-26bb-45da-b8ee-37851dfdb22e" providerId="ADAL" clId="{7939EC25-6FE8-45E7-9CDC-F713F141A605}" dt="2021-10-19T17:20:19.092" v="1094" actId="122"/>
          <ac:spMkLst>
            <pc:docMk/>
            <pc:sldMk cId="3488994755" sldId="2145705974"/>
            <ac:spMk id="6" creationId="{DA82DD4E-DDB8-49CB-82D1-935E4AADC8F0}"/>
          </ac:spMkLst>
        </pc:spChg>
        <pc:picChg chg="mod">
          <ac:chgData name="Erick Moore" userId="96a732b2-26bb-45da-b8ee-37851dfdb22e" providerId="ADAL" clId="{7939EC25-6FE8-45E7-9CDC-F713F141A605}" dt="2021-10-19T17:09:06.689" v="435" actId="1440"/>
          <ac:picMkLst>
            <pc:docMk/>
            <pc:sldMk cId="3488994755" sldId="2145705974"/>
            <ac:picMk id="3" creationId="{514D92D8-1234-421C-B1A5-5E867C9BFACD}"/>
          </ac:picMkLst>
        </pc:picChg>
        <pc:cxnChg chg="add mod">
          <ac:chgData name="Erick Moore" userId="96a732b2-26bb-45da-b8ee-37851dfdb22e" providerId="ADAL" clId="{7939EC25-6FE8-45E7-9CDC-F713F141A605}" dt="2021-10-19T17:20:06.562" v="1089"/>
          <ac:cxnSpMkLst>
            <pc:docMk/>
            <pc:sldMk cId="3488994755" sldId="2145705974"/>
            <ac:cxnSpMk id="5" creationId="{30F4076C-5031-4C99-9401-8E2C18B78AAC}"/>
          </ac:cxnSpMkLst>
        </pc:cxnChg>
      </pc:sldChg>
      <pc:sldChg chg="modTransition">
        <pc:chgData name="Erick Moore" userId="96a732b2-26bb-45da-b8ee-37851dfdb22e" providerId="ADAL" clId="{7939EC25-6FE8-45E7-9CDC-F713F141A605}" dt="2021-10-19T17:29:43.930" v="1530"/>
        <pc:sldMkLst>
          <pc:docMk/>
          <pc:sldMk cId="2831405226" sldId="2145705976"/>
        </pc:sldMkLst>
      </pc:sldChg>
      <pc:sldChg chg="modTransition">
        <pc:chgData name="Erick Moore" userId="96a732b2-26bb-45da-b8ee-37851dfdb22e" providerId="ADAL" clId="{7939EC25-6FE8-45E7-9CDC-F713F141A605}" dt="2021-10-19T17:29:46.811" v="1531"/>
        <pc:sldMkLst>
          <pc:docMk/>
          <pc:sldMk cId="3923618809" sldId="2145705979"/>
        </pc:sldMkLst>
      </pc:sldChg>
      <pc:sldChg chg="addSp delSp modSp mod modTransition">
        <pc:chgData name="Erick Moore" userId="96a732b2-26bb-45da-b8ee-37851dfdb22e" providerId="ADAL" clId="{7939EC25-6FE8-45E7-9CDC-F713F141A605}" dt="2021-10-19T17:28:46.706" v="1519"/>
        <pc:sldMkLst>
          <pc:docMk/>
          <pc:sldMk cId="1731211336" sldId="2145705980"/>
        </pc:sldMkLst>
        <pc:spChg chg="add del mod">
          <ac:chgData name="Erick Moore" userId="96a732b2-26bb-45da-b8ee-37851dfdb22e" providerId="ADAL" clId="{7939EC25-6FE8-45E7-9CDC-F713F141A605}" dt="2021-10-19T17:27:47.758" v="1497" actId="478"/>
          <ac:spMkLst>
            <pc:docMk/>
            <pc:sldMk cId="1731211336" sldId="2145705980"/>
            <ac:spMk id="3" creationId="{7A1B8688-3656-4DBA-9C7D-A6C9C102A68C}"/>
          </ac:spMkLst>
        </pc:spChg>
        <pc:spChg chg="del">
          <ac:chgData name="Erick Moore" userId="96a732b2-26bb-45da-b8ee-37851dfdb22e" providerId="ADAL" clId="{7939EC25-6FE8-45E7-9CDC-F713F141A605}" dt="2021-10-19T17:27:43.715" v="1495" actId="478"/>
          <ac:spMkLst>
            <pc:docMk/>
            <pc:sldMk cId="1731211336" sldId="2145705980"/>
            <ac:spMk id="6" creationId="{DA82DD4E-DDB8-49CB-82D1-935E4AADC8F0}"/>
          </ac:spMkLst>
        </pc:spChg>
        <pc:spChg chg="add mod">
          <ac:chgData name="Erick Moore" userId="96a732b2-26bb-45da-b8ee-37851dfdb22e" providerId="ADAL" clId="{7939EC25-6FE8-45E7-9CDC-F713F141A605}" dt="2021-10-19T17:27:51.531" v="1500" actId="20577"/>
          <ac:spMkLst>
            <pc:docMk/>
            <pc:sldMk cId="1731211336" sldId="2145705980"/>
            <ac:spMk id="7" creationId="{236F2BB0-A83B-4E44-A200-EC57E99D7988}"/>
          </ac:spMkLst>
        </pc:spChg>
      </pc:sldChg>
      <pc:sldChg chg="modSp mod modTransition">
        <pc:chgData name="Erick Moore" userId="96a732b2-26bb-45da-b8ee-37851dfdb22e" providerId="ADAL" clId="{7939EC25-6FE8-45E7-9CDC-F713F141A605}" dt="2021-10-19T17:28:46.706" v="1519"/>
        <pc:sldMkLst>
          <pc:docMk/>
          <pc:sldMk cId="1249305461" sldId="2145705981"/>
        </pc:sldMkLst>
        <pc:spChg chg="mod">
          <ac:chgData name="Erick Moore" userId="96a732b2-26bb-45da-b8ee-37851dfdb22e" providerId="ADAL" clId="{7939EC25-6FE8-45E7-9CDC-F713F141A605}" dt="2021-10-19T17:27:32.504" v="1494" actId="122"/>
          <ac:spMkLst>
            <pc:docMk/>
            <pc:sldMk cId="1249305461" sldId="2145705981"/>
            <ac:spMk id="6" creationId="{DA82DD4E-DDB8-49CB-82D1-935E4AADC8F0}"/>
          </ac:spMkLst>
        </pc:spChg>
      </pc:sldChg>
      <pc:sldChg chg="addSp delSp modSp mod modTransition">
        <pc:chgData name="Erick Moore" userId="96a732b2-26bb-45da-b8ee-37851dfdb22e" providerId="ADAL" clId="{7939EC25-6FE8-45E7-9CDC-F713F141A605}" dt="2021-10-19T17:28:46.706" v="1519"/>
        <pc:sldMkLst>
          <pc:docMk/>
          <pc:sldMk cId="2110403398" sldId="2145705982"/>
        </pc:sldMkLst>
        <pc:spChg chg="add del mod">
          <ac:chgData name="Erick Moore" userId="96a732b2-26bb-45da-b8ee-37851dfdb22e" providerId="ADAL" clId="{7939EC25-6FE8-45E7-9CDC-F713F141A605}" dt="2021-10-19T17:27:59.199" v="1502" actId="478"/>
          <ac:spMkLst>
            <pc:docMk/>
            <pc:sldMk cId="2110403398" sldId="2145705982"/>
            <ac:spMk id="4" creationId="{4B602078-B381-4D59-8EB0-7CC5F2F7EB54}"/>
          </ac:spMkLst>
        </pc:spChg>
        <pc:spChg chg="del">
          <ac:chgData name="Erick Moore" userId="96a732b2-26bb-45da-b8ee-37851dfdb22e" providerId="ADAL" clId="{7939EC25-6FE8-45E7-9CDC-F713F141A605}" dt="2021-10-19T17:27:57.892" v="1501" actId="478"/>
          <ac:spMkLst>
            <pc:docMk/>
            <pc:sldMk cId="2110403398" sldId="2145705982"/>
            <ac:spMk id="6" creationId="{DA82DD4E-DDB8-49CB-82D1-935E4AADC8F0}"/>
          </ac:spMkLst>
        </pc:spChg>
        <pc:spChg chg="add mod">
          <ac:chgData name="Erick Moore" userId="96a732b2-26bb-45da-b8ee-37851dfdb22e" providerId="ADAL" clId="{7939EC25-6FE8-45E7-9CDC-F713F141A605}" dt="2021-10-19T17:28:01.739" v="1506" actId="20577"/>
          <ac:spMkLst>
            <pc:docMk/>
            <pc:sldMk cId="2110403398" sldId="2145705982"/>
            <ac:spMk id="7" creationId="{3A59C9C5-A788-4A75-B606-6EEF01410E26}"/>
          </ac:spMkLst>
        </pc:spChg>
      </pc:sldChg>
      <pc:sldChg chg="addSp delSp modSp mod modTransition">
        <pc:chgData name="Erick Moore" userId="96a732b2-26bb-45da-b8ee-37851dfdb22e" providerId="ADAL" clId="{7939EC25-6FE8-45E7-9CDC-F713F141A605}" dt="2021-10-19T17:28:46.706" v="1519"/>
        <pc:sldMkLst>
          <pc:docMk/>
          <pc:sldMk cId="1981300406" sldId="2145705983"/>
        </pc:sldMkLst>
        <pc:spChg chg="add del mod">
          <ac:chgData name="Erick Moore" userId="96a732b2-26bb-45da-b8ee-37851dfdb22e" providerId="ADAL" clId="{7939EC25-6FE8-45E7-9CDC-F713F141A605}" dt="2021-10-19T17:28:12.080" v="1510" actId="478"/>
          <ac:spMkLst>
            <pc:docMk/>
            <pc:sldMk cId="1981300406" sldId="2145705983"/>
            <ac:spMk id="3" creationId="{A79DADB9-E4E7-4118-A549-AEC6A1B2A8D2}"/>
          </ac:spMkLst>
        </pc:spChg>
        <pc:spChg chg="add del">
          <ac:chgData name="Erick Moore" userId="96a732b2-26bb-45da-b8ee-37851dfdb22e" providerId="ADAL" clId="{7939EC25-6FE8-45E7-9CDC-F713F141A605}" dt="2021-10-19T17:28:15.520" v="1511" actId="478"/>
          <ac:spMkLst>
            <pc:docMk/>
            <pc:sldMk cId="1981300406" sldId="2145705983"/>
            <ac:spMk id="6" creationId="{DA82DD4E-DDB8-49CB-82D1-935E4AADC8F0}"/>
          </ac:spMkLst>
        </pc:spChg>
        <pc:spChg chg="add del mod">
          <ac:chgData name="Erick Moore" userId="96a732b2-26bb-45da-b8ee-37851dfdb22e" providerId="ADAL" clId="{7939EC25-6FE8-45E7-9CDC-F713F141A605}" dt="2021-10-19T17:28:11.719" v="1509"/>
          <ac:spMkLst>
            <pc:docMk/>
            <pc:sldMk cId="1981300406" sldId="2145705983"/>
            <ac:spMk id="7" creationId="{16AF1938-FEEC-4C6B-9FEE-5131FB833B16}"/>
          </ac:spMkLst>
        </pc:spChg>
        <pc:spChg chg="add del mod">
          <ac:chgData name="Erick Moore" userId="96a732b2-26bb-45da-b8ee-37851dfdb22e" providerId="ADAL" clId="{7939EC25-6FE8-45E7-9CDC-F713F141A605}" dt="2021-10-19T17:28:19.575" v="1512" actId="478"/>
          <ac:spMkLst>
            <pc:docMk/>
            <pc:sldMk cId="1981300406" sldId="2145705983"/>
            <ac:spMk id="8" creationId="{55724694-F85F-4B92-8733-195544DC0A51}"/>
          </ac:spMkLst>
        </pc:spChg>
        <pc:spChg chg="add mod">
          <ac:chgData name="Erick Moore" userId="96a732b2-26bb-45da-b8ee-37851dfdb22e" providerId="ADAL" clId="{7939EC25-6FE8-45E7-9CDC-F713F141A605}" dt="2021-10-19T17:28:24.793" v="1518" actId="20577"/>
          <ac:spMkLst>
            <pc:docMk/>
            <pc:sldMk cId="1981300406" sldId="2145705983"/>
            <ac:spMk id="9" creationId="{A1881F13-E206-4D41-8D8A-9A21C5889D1A}"/>
          </ac:spMkLst>
        </pc:spChg>
      </pc:sldChg>
      <pc:sldChg chg="addSp modSp mod modTransition modAnim">
        <pc:chgData name="Erick Moore" userId="96a732b2-26bb-45da-b8ee-37851dfdb22e" providerId="ADAL" clId="{7939EC25-6FE8-45E7-9CDC-F713F141A605}" dt="2021-10-19T17:28:55.158" v="1521"/>
        <pc:sldMkLst>
          <pc:docMk/>
          <pc:sldMk cId="3903358426" sldId="2145705984"/>
        </pc:sldMkLst>
        <pc:spChg chg="mod">
          <ac:chgData name="Erick Moore" userId="96a732b2-26bb-45da-b8ee-37851dfdb22e" providerId="ADAL" clId="{7939EC25-6FE8-45E7-9CDC-F713F141A605}" dt="2021-10-19T17:26:53.324" v="1486" actId="122"/>
          <ac:spMkLst>
            <pc:docMk/>
            <pc:sldMk cId="3903358426" sldId="2145705984"/>
            <ac:spMk id="6" creationId="{DA82DD4E-DDB8-49CB-82D1-935E4AADC8F0}"/>
          </ac:spMkLst>
        </pc:spChg>
        <pc:spChg chg="mod">
          <ac:chgData name="Erick Moore" userId="96a732b2-26bb-45da-b8ee-37851dfdb22e" providerId="ADAL" clId="{7939EC25-6FE8-45E7-9CDC-F713F141A605}" dt="2021-10-19T17:27:12.063" v="1488" actId="1076"/>
          <ac:spMkLst>
            <pc:docMk/>
            <pc:sldMk cId="3903358426" sldId="2145705984"/>
            <ac:spMk id="15" creationId="{1E566100-ADBB-4258-8EC3-23BBEEC9793D}"/>
          </ac:spMkLst>
        </pc:spChg>
        <pc:picChg chg="mod">
          <ac:chgData name="Erick Moore" userId="96a732b2-26bb-45da-b8ee-37851dfdb22e" providerId="ADAL" clId="{7939EC25-6FE8-45E7-9CDC-F713F141A605}" dt="2021-10-19T17:09:13.895" v="436" actId="1440"/>
          <ac:picMkLst>
            <pc:docMk/>
            <pc:sldMk cId="3903358426" sldId="2145705984"/>
            <ac:picMk id="1026" creationId="{5CCD62C3-BC47-4553-B569-3A7335C53E89}"/>
          </ac:picMkLst>
        </pc:picChg>
        <pc:cxnChg chg="add mod">
          <ac:chgData name="Erick Moore" userId="96a732b2-26bb-45da-b8ee-37851dfdb22e" providerId="ADAL" clId="{7939EC25-6FE8-45E7-9CDC-F713F141A605}" dt="2021-10-19T17:26:44.923" v="1482"/>
          <ac:cxnSpMkLst>
            <pc:docMk/>
            <pc:sldMk cId="3903358426" sldId="2145705984"/>
            <ac:cxnSpMk id="5" creationId="{250BD174-E260-41B7-92F1-8D0BEDF90DCB}"/>
          </ac:cxnSpMkLst>
        </pc:cxnChg>
      </pc:sldChg>
      <pc:sldChg chg="addSp modSp mod modTransition modAnim">
        <pc:chgData name="Erick Moore" userId="96a732b2-26bb-45da-b8ee-37851dfdb22e" providerId="ADAL" clId="{7939EC25-6FE8-45E7-9CDC-F713F141A605}" dt="2021-10-19T17:30:23.361" v="1539"/>
        <pc:sldMkLst>
          <pc:docMk/>
          <pc:sldMk cId="579524891" sldId="2145705985"/>
        </pc:sldMkLst>
        <pc:spChg chg="mod">
          <ac:chgData name="Erick Moore" userId="96a732b2-26bb-45da-b8ee-37851dfdb22e" providerId="ADAL" clId="{7939EC25-6FE8-45E7-9CDC-F713F141A605}" dt="2021-10-19T17:30:08.385" v="1537" actId="122"/>
          <ac:spMkLst>
            <pc:docMk/>
            <pc:sldMk cId="579524891" sldId="2145705985"/>
            <ac:spMk id="6" creationId="{DA82DD4E-DDB8-49CB-82D1-935E4AADC8F0}"/>
          </ac:spMkLst>
        </pc:spChg>
        <pc:cxnChg chg="add mod">
          <ac:chgData name="Erick Moore" userId="96a732b2-26bb-45da-b8ee-37851dfdb22e" providerId="ADAL" clId="{7939EC25-6FE8-45E7-9CDC-F713F141A605}" dt="2021-10-19T17:29:54.726" v="1532"/>
          <ac:cxnSpMkLst>
            <pc:docMk/>
            <pc:sldMk cId="579524891" sldId="2145705985"/>
            <ac:cxnSpMk id="4" creationId="{91609873-DC85-4475-BB02-180372120ED5}"/>
          </ac:cxnSpMkLst>
        </pc:cxnChg>
      </pc:sldChg>
      <pc:sldChg chg="addSp modSp mod modTransition modAnim">
        <pc:chgData name="Erick Moore" userId="96a732b2-26bb-45da-b8ee-37851dfdb22e" providerId="ADAL" clId="{7939EC25-6FE8-45E7-9CDC-F713F141A605}" dt="2021-10-19T17:29:36.640" v="1529"/>
        <pc:sldMkLst>
          <pc:docMk/>
          <pc:sldMk cId="62054550" sldId="2145705986"/>
        </pc:sldMkLst>
        <pc:spChg chg="mod">
          <ac:chgData name="Erick Moore" userId="96a732b2-26bb-45da-b8ee-37851dfdb22e" providerId="ADAL" clId="{7939EC25-6FE8-45E7-9CDC-F713F141A605}" dt="2021-10-19T17:29:18.706" v="1527" actId="122"/>
          <ac:spMkLst>
            <pc:docMk/>
            <pc:sldMk cId="62054550" sldId="2145705986"/>
            <ac:spMk id="6" creationId="{DA82DD4E-DDB8-49CB-82D1-935E4AADC8F0}"/>
          </ac:spMkLst>
        </pc:spChg>
        <pc:cxnChg chg="add mod">
          <ac:chgData name="Erick Moore" userId="96a732b2-26bb-45da-b8ee-37851dfdb22e" providerId="ADAL" clId="{7939EC25-6FE8-45E7-9CDC-F713F141A605}" dt="2021-10-19T17:29:06.900" v="1522"/>
          <ac:cxnSpMkLst>
            <pc:docMk/>
            <pc:sldMk cId="62054550" sldId="2145705986"/>
            <ac:cxnSpMk id="4" creationId="{86B40497-E37A-4F7E-95C8-89709049A388}"/>
          </ac:cxnSpMkLst>
        </pc:cxnChg>
      </pc:sldChg>
      <pc:sldChg chg="addSp modSp mod modTransition modAnim">
        <pc:chgData name="Erick Moore" userId="96a732b2-26bb-45da-b8ee-37851dfdb22e" providerId="ADAL" clId="{7939EC25-6FE8-45E7-9CDC-F713F141A605}" dt="2021-10-19T17:31:39.374" v="1541"/>
        <pc:sldMkLst>
          <pc:docMk/>
          <pc:sldMk cId="83375380" sldId="2145705987"/>
        </pc:sldMkLst>
        <pc:spChg chg="mod">
          <ac:chgData name="Erick Moore" userId="96a732b2-26bb-45da-b8ee-37851dfdb22e" providerId="ADAL" clId="{7939EC25-6FE8-45E7-9CDC-F713F141A605}" dt="2021-10-19T17:19:50.073" v="1087" actId="122"/>
          <ac:spMkLst>
            <pc:docMk/>
            <pc:sldMk cId="83375380" sldId="2145705987"/>
            <ac:spMk id="6" creationId="{DA82DD4E-DDB8-49CB-82D1-935E4AADC8F0}"/>
          </ac:spMkLst>
        </pc:spChg>
        <pc:picChg chg="mod">
          <ac:chgData name="Erick Moore" userId="96a732b2-26bb-45da-b8ee-37851dfdb22e" providerId="ADAL" clId="{7939EC25-6FE8-45E7-9CDC-F713F141A605}" dt="2021-10-19T17:08:58.197" v="433" actId="1440"/>
          <ac:picMkLst>
            <pc:docMk/>
            <pc:sldMk cId="83375380" sldId="2145705987"/>
            <ac:picMk id="9" creationId="{77B38B60-4E80-4386-B36F-5B38C67D88B7}"/>
          </ac:picMkLst>
        </pc:picChg>
        <pc:cxnChg chg="add mod">
          <ac:chgData name="Erick Moore" userId="96a732b2-26bb-45da-b8ee-37851dfdb22e" providerId="ADAL" clId="{7939EC25-6FE8-45E7-9CDC-F713F141A605}" dt="2021-10-19T17:19:39.815" v="1083"/>
          <ac:cxnSpMkLst>
            <pc:docMk/>
            <pc:sldMk cId="83375380" sldId="2145705987"/>
            <ac:cxnSpMk id="5" creationId="{572E02FC-2ECF-4B60-8A83-D6D4CF6B3366}"/>
          </ac:cxnSpMkLst>
        </pc:cxnChg>
      </pc:sldChg>
    </pc:docChg>
  </pc:docChgLst>
  <pc:docChgLst>
    <pc:chgData name="Ryan Ferry" userId="a0b0b523-e3eb-411d-86d6-f860ef896bab" providerId="ADAL" clId="{264F420C-B84A-4C9C-BA16-22036D01BA83}"/>
    <pc:docChg chg="undo custSel addSld delSld modSld">
      <pc:chgData name="Ryan Ferry" userId="a0b0b523-e3eb-411d-86d6-f860ef896bab" providerId="ADAL" clId="{264F420C-B84A-4C9C-BA16-22036D01BA83}" dt="2021-10-19T03:23:09.449" v="494"/>
      <pc:docMkLst>
        <pc:docMk/>
      </pc:docMkLst>
      <pc:sldChg chg="modSp mod">
        <pc:chgData name="Ryan Ferry" userId="a0b0b523-e3eb-411d-86d6-f860ef896bab" providerId="ADAL" clId="{264F420C-B84A-4C9C-BA16-22036D01BA83}" dt="2021-10-05T16:55:52.094" v="98" actId="1076"/>
        <pc:sldMkLst>
          <pc:docMk/>
          <pc:sldMk cId="3675353970" sldId="2145705915"/>
        </pc:sldMkLst>
        <pc:spChg chg="mod">
          <ac:chgData name="Ryan Ferry" userId="a0b0b523-e3eb-411d-86d6-f860ef896bab" providerId="ADAL" clId="{264F420C-B84A-4C9C-BA16-22036D01BA83}" dt="2021-10-05T16:55:52.094" v="98" actId="1076"/>
          <ac:spMkLst>
            <pc:docMk/>
            <pc:sldMk cId="3675353970" sldId="2145705915"/>
            <ac:spMk id="29" creationId="{D693649C-8682-4A82-9350-B16B76D56128}"/>
          </ac:spMkLst>
        </pc:spChg>
        <pc:spChg chg="mod">
          <ac:chgData name="Ryan Ferry" userId="a0b0b523-e3eb-411d-86d6-f860ef896bab" providerId="ADAL" clId="{264F420C-B84A-4C9C-BA16-22036D01BA83}" dt="2021-10-05T16:55:46.346" v="97" actId="1076"/>
          <ac:spMkLst>
            <pc:docMk/>
            <pc:sldMk cId="3675353970" sldId="2145705915"/>
            <ac:spMk id="42" creationId="{1D67ACEB-DBC4-4D01-9DF9-D5BDAF5B1629}"/>
          </ac:spMkLst>
        </pc:spChg>
      </pc:sldChg>
      <pc:sldChg chg="addSp modSp mod">
        <pc:chgData name="Ryan Ferry" userId="a0b0b523-e3eb-411d-86d6-f860ef896bab" providerId="ADAL" clId="{264F420C-B84A-4C9C-BA16-22036D01BA83}" dt="2021-10-11T15:21:21.577" v="315" actId="403"/>
        <pc:sldMkLst>
          <pc:docMk/>
          <pc:sldMk cId="3488994755" sldId="2145705974"/>
        </pc:sldMkLst>
        <pc:spChg chg="mod">
          <ac:chgData name="Ryan Ferry" userId="a0b0b523-e3eb-411d-86d6-f860ef896bab" providerId="ADAL" clId="{264F420C-B84A-4C9C-BA16-22036D01BA83}" dt="2021-10-11T15:21:21.577" v="315" actId="403"/>
          <ac:spMkLst>
            <pc:docMk/>
            <pc:sldMk cId="3488994755" sldId="2145705974"/>
            <ac:spMk id="15" creationId="{1E566100-ADBB-4258-8EC3-23BBEEC9793D}"/>
          </ac:spMkLst>
        </pc:spChg>
        <pc:picChg chg="add mod">
          <ac:chgData name="Ryan Ferry" userId="a0b0b523-e3eb-411d-86d6-f860ef896bab" providerId="ADAL" clId="{264F420C-B84A-4C9C-BA16-22036D01BA83}" dt="2021-10-11T15:20:54.559" v="275" actId="1076"/>
          <ac:picMkLst>
            <pc:docMk/>
            <pc:sldMk cId="3488994755" sldId="2145705974"/>
            <ac:picMk id="3" creationId="{514D92D8-1234-421C-B1A5-5E867C9BFACD}"/>
          </ac:picMkLst>
        </pc:picChg>
      </pc:sldChg>
      <pc:sldChg chg="addSp">
        <pc:chgData name="Ryan Ferry" userId="a0b0b523-e3eb-411d-86d6-f860ef896bab" providerId="ADAL" clId="{264F420C-B84A-4C9C-BA16-22036D01BA83}" dt="2021-09-30T02:42:57.378" v="72"/>
        <pc:sldMkLst>
          <pc:docMk/>
          <pc:sldMk cId="2015672159" sldId="2145705975"/>
        </pc:sldMkLst>
        <pc:picChg chg="add">
          <ac:chgData name="Ryan Ferry" userId="a0b0b523-e3eb-411d-86d6-f860ef896bab" providerId="ADAL" clId="{264F420C-B84A-4C9C-BA16-22036D01BA83}" dt="2021-09-30T02:42:57.378" v="72"/>
          <ac:picMkLst>
            <pc:docMk/>
            <pc:sldMk cId="2015672159" sldId="2145705975"/>
            <ac:picMk id="3074" creationId="{2D00BCC6-FD44-4093-9AB5-6425AADADA16}"/>
          </ac:picMkLst>
        </pc:picChg>
      </pc:sldChg>
      <pc:sldChg chg="addSp">
        <pc:chgData name="Ryan Ferry" userId="a0b0b523-e3eb-411d-86d6-f860ef896bab" providerId="ADAL" clId="{264F420C-B84A-4C9C-BA16-22036D01BA83}" dt="2021-09-30T02:42:48.277" v="61"/>
        <pc:sldMkLst>
          <pc:docMk/>
          <pc:sldMk cId="2244703919" sldId="2145705975"/>
        </pc:sldMkLst>
        <pc:picChg chg="add">
          <ac:chgData name="Ryan Ferry" userId="a0b0b523-e3eb-411d-86d6-f860ef896bab" providerId="ADAL" clId="{264F420C-B84A-4C9C-BA16-22036D01BA83}" dt="2021-09-30T02:42:48.277" v="61"/>
          <ac:picMkLst>
            <pc:docMk/>
            <pc:sldMk cId="2244703919" sldId="2145705975"/>
            <ac:picMk id="1026" creationId="{58D66597-3110-4D6E-9F82-F35F59ECD28F}"/>
          </ac:picMkLst>
        </pc:picChg>
      </pc:sldChg>
      <pc:sldChg chg="modSp add del mod">
        <pc:chgData name="Ryan Ferry" userId="a0b0b523-e3eb-411d-86d6-f860ef896bab" providerId="ADAL" clId="{264F420C-B84A-4C9C-BA16-22036D01BA83}" dt="2021-10-11T15:22:17.136" v="316" actId="47"/>
        <pc:sldMkLst>
          <pc:docMk/>
          <pc:sldMk cId="2989074779" sldId="2145705975"/>
        </pc:sldMkLst>
        <pc:spChg chg="mod">
          <ac:chgData name="Ryan Ferry" userId="a0b0b523-e3eb-411d-86d6-f860ef896bab" providerId="ADAL" clId="{264F420C-B84A-4C9C-BA16-22036D01BA83}" dt="2021-10-11T15:20:10.046" v="194" actId="20577"/>
          <ac:spMkLst>
            <pc:docMk/>
            <pc:sldMk cId="2989074779" sldId="2145705975"/>
            <ac:spMk id="15" creationId="{1E566100-ADBB-4258-8EC3-23BBEEC9793D}"/>
          </ac:spMkLst>
        </pc:spChg>
        <pc:picChg chg="mod">
          <ac:chgData name="Ryan Ferry" userId="a0b0b523-e3eb-411d-86d6-f860ef896bab" providerId="ADAL" clId="{264F420C-B84A-4C9C-BA16-22036D01BA83}" dt="2021-09-30T02:42:49.370" v="65" actId="22"/>
          <ac:picMkLst>
            <pc:docMk/>
            <pc:sldMk cId="2989074779" sldId="2145705975"/>
            <ac:picMk id="1026" creationId="{58D66597-3110-4D6E-9F82-F35F59ECD28F}"/>
          </ac:picMkLst>
        </pc:picChg>
        <pc:picChg chg="mod">
          <ac:chgData name="Ryan Ferry" userId="a0b0b523-e3eb-411d-86d6-f860ef896bab" providerId="ADAL" clId="{264F420C-B84A-4C9C-BA16-22036D01BA83}" dt="2021-09-30T02:42:52.951" v="70" actId="22"/>
          <ac:picMkLst>
            <pc:docMk/>
            <pc:sldMk cId="2989074779" sldId="2145705975"/>
            <ac:picMk id="2050" creationId="{FFDAB9E9-3737-4488-9E7D-934990764FC0}"/>
          </ac:picMkLst>
        </pc:picChg>
        <pc:picChg chg="mod">
          <ac:chgData name="Ryan Ferry" userId="a0b0b523-e3eb-411d-86d6-f860ef896bab" providerId="ADAL" clId="{264F420C-B84A-4C9C-BA16-22036D01BA83}" dt="2021-10-11T15:19:35.826" v="109" actId="14100"/>
          <ac:picMkLst>
            <pc:docMk/>
            <pc:sldMk cId="2989074779" sldId="2145705975"/>
            <ac:picMk id="3074" creationId="{2D00BCC6-FD44-4093-9AB5-6425AADADA16}"/>
          </ac:picMkLst>
        </pc:picChg>
      </pc:sldChg>
      <pc:sldChg chg="addSp">
        <pc:chgData name="Ryan Ferry" userId="a0b0b523-e3eb-411d-86d6-f860ef896bab" providerId="ADAL" clId="{264F420C-B84A-4C9C-BA16-22036D01BA83}" dt="2021-09-30T02:42:50.986" v="66"/>
        <pc:sldMkLst>
          <pc:docMk/>
          <pc:sldMk cId="3177214548" sldId="2145705975"/>
        </pc:sldMkLst>
        <pc:picChg chg="add">
          <ac:chgData name="Ryan Ferry" userId="a0b0b523-e3eb-411d-86d6-f860ef896bab" providerId="ADAL" clId="{264F420C-B84A-4C9C-BA16-22036D01BA83}" dt="2021-09-30T02:42:50.986" v="66"/>
          <ac:picMkLst>
            <pc:docMk/>
            <pc:sldMk cId="3177214548" sldId="2145705975"/>
            <ac:picMk id="2050" creationId="{FFDAB9E9-3737-4488-9E7D-934990764FC0}"/>
          </ac:picMkLst>
        </pc:picChg>
      </pc:sldChg>
      <pc:sldChg chg="del">
        <pc:chgData name="Ryan Ferry" userId="a0b0b523-e3eb-411d-86d6-f860ef896bab" providerId="ADAL" clId="{264F420C-B84A-4C9C-BA16-22036D01BA83}" dt="2021-10-18T20:00:29.716" v="318" actId="47"/>
        <pc:sldMkLst>
          <pc:docMk/>
          <pc:sldMk cId="1436316695" sldId="2145705977"/>
        </pc:sldMkLst>
      </pc:sldChg>
      <pc:sldChg chg="del">
        <pc:chgData name="Ryan Ferry" userId="a0b0b523-e3eb-411d-86d6-f860ef896bab" providerId="ADAL" clId="{264F420C-B84A-4C9C-BA16-22036D01BA83}" dt="2021-10-18T20:00:29.716" v="318" actId="47"/>
        <pc:sldMkLst>
          <pc:docMk/>
          <pc:sldMk cId="2805279653" sldId="2145705978"/>
        </pc:sldMkLst>
      </pc:sldChg>
      <pc:sldChg chg="modSp mod">
        <pc:chgData name="Ryan Ferry" userId="a0b0b523-e3eb-411d-86d6-f860ef896bab" providerId="ADAL" clId="{264F420C-B84A-4C9C-BA16-22036D01BA83}" dt="2021-10-19T02:38:32.092" v="388" actId="1076"/>
        <pc:sldMkLst>
          <pc:docMk/>
          <pc:sldMk cId="1731211336" sldId="2145705980"/>
        </pc:sldMkLst>
        <pc:picChg chg="mod modCrop">
          <ac:chgData name="Ryan Ferry" userId="a0b0b523-e3eb-411d-86d6-f860ef896bab" providerId="ADAL" clId="{264F420C-B84A-4C9C-BA16-22036D01BA83}" dt="2021-10-19T02:38:32.092" v="388" actId="1076"/>
          <ac:picMkLst>
            <pc:docMk/>
            <pc:sldMk cId="1731211336" sldId="2145705980"/>
            <ac:picMk id="8" creationId="{8AF0CB4A-7564-4F5B-9E80-5EB2A30E3BC4}"/>
          </ac:picMkLst>
        </pc:picChg>
      </pc:sldChg>
      <pc:sldChg chg="modSp mod">
        <pc:chgData name="Ryan Ferry" userId="a0b0b523-e3eb-411d-86d6-f860ef896bab" providerId="ADAL" clId="{264F420C-B84A-4C9C-BA16-22036D01BA83}" dt="2021-10-19T02:38:02.734" v="379" actId="1076"/>
        <pc:sldMkLst>
          <pc:docMk/>
          <pc:sldMk cId="1249305461" sldId="2145705981"/>
        </pc:sldMkLst>
        <pc:picChg chg="mod">
          <ac:chgData name="Ryan Ferry" userId="a0b0b523-e3eb-411d-86d6-f860ef896bab" providerId="ADAL" clId="{264F420C-B84A-4C9C-BA16-22036D01BA83}" dt="2021-10-19T02:38:02.734" v="379" actId="1076"/>
          <ac:picMkLst>
            <pc:docMk/>
            <pc:sldMk cId="1249305461" sldId="2145705981"/>
            <ac:picMk id="3" creationId="{E52D8B1B-74BE-4EEA-A407-31D004B016BB}"/>
          </ac:picMkLst>
        </pc:picChg>
      </pc:sldChg>
      <pc:sldChg chg="modSp mod">
        <pc:chgData name="Ryan Ferry" userId="a0b0b523-e3eb-411d-86d6-f860ef896bab" providerId="ADAL" clId="{264F420C-B84A-4C9C-BA16-22036D01BA83}" dt="2021-10-19T02:38:06.320" v="380" actId="1076"/>
        <pc:sldMkLst>
          <pc:docMk/>
          <pc:sldMk cId="2110403398" sldId="2145705982"/>
        </pc:sldMkLst>
        <pc:picChg chg="mod">
          <ac:chgData name="Ryan Ferry" userId="a0b0b523-e3eb-411d-86d6-f860ef896bab" providerId="ADAL" clId="{264F420C-B84A-4C9C-BA16-22036D01BA83}" dt="2021-10-19T02:38:06.320" v="380" actId="1076"/>
          <ac:picMkLst>
            <pc:docMk/>
            <pc:sldMk cId="2110403398" sldId="2145705982"/>
            <ac:picMk id="3" creationId="{1A44CABA-227F-4321-A7A4-61E189AF9F94}"/>
          </ac:picMkLst>
        </pc:picChg>
      </pc:sldChg>
      <pc:sldChg chg="modSp mod">
        <pc:chgData name="Ryan Ferry" userId="a0b0b523-e3eb-411d-86d6-f860ef896bab" providerId="ADAL" clId="{264F420C-B84A-4C9C-BA16-22036D01BA83}" dt="2021-10-19T02:38:09.426" v="381" actId="1076"/>
        <pc:sldMkLst>
          <pc:docMk/>
          <pc:sldMk cId="1981300406" sldId="2145705983"/>
        </pc:sldMkLst>
        <pc:picChg chg="mod">
          <ac:chgData name="Ryan Ferry" userId="a0b0b523-e3eb-411d-86d6-f860ef896bab" providerId="ADAL" clId="{264F420C-B84A-4C9C-BA16-22036D01BA83}" dt="2021-10-19T02:38:09.426" v="381" actId="1076"/>
          <ac:picMkLst>
            <pc:docMk/>
            <pc:sldMk cId="1981300406" sldId="2145705983"/>
            <ac:picMk id="4" creationId="{7AA75442-D3B0-437D-9906-09BCBB12F42B}"/>
          </ac:picMkLst>
        </pc:picChg>
      </pc:sldChg>
      <pc:sldChg chg="addSp">
        <pc:chgData name="Ryan Ferry" userId="a0b0b523-e3eb-411d-86d6-f860ef896bab" providerId="ADAL" clId="{264F420C-B84A-4C9C-BA16-22036D01BA83}" dt="2021-10-19T02:37:13.466" v="373"/>
        <pc:sldMkLst>
          <pc:docMk/>
          <pc:sldMk cId="312712884" sldId="2145705984"/>
        </pc:sldMkLst>
        <pc:picChg chg="add">
          <ac:chgData name="Ryan Ferry" userId="a0b0b523-e3eb-411d-86d6-f860ef896bab" providerId="ADAL" clId="{264F420C-B84A-4C9C-BA16-22036D01BA83}" dt="2021-10-19T02:37:13.466" v="373"/>
          <ac:picMkLst>
            <pc:docMk/>
            <pc:sldMk cId="312712884" sldId="2145705984"/>
            <ac:picMk id="1026" creationId="{5CCD62C3-BC47-4553-B569-3A7335C53E89}"/>
          </ac:picMkLst>
        </pc:picChg>
      </pc:sldChg>
      <pc:sldChg chg="modSp add del mod modNotesTx">
        <pc:chgData name="Ryan Ferry" userId="a0b0b523-e3eb-411d-86d6-f860ef896bab" providerId="ADAL" clId="{264F420C-B84A-4C9C-BA16-22036D01BA83}" dt="2021-10-19T03:14:00.539" v="487"/>
        <pc:sldMkLst>
          <pc:docMk/>
          <pc:sldMk cId="3903358426" sldId="2145705984"/>
        </pc:sldMkLst>
        <pc:spChg chg="mod">
          <ac:chgData name="Ryan Ferry" userId="a0b0b523-e3eb-411d-86d6-f860ef896bab" providerId="ADAL" clId="{264F420C-B84A-4C9C-BA16-22036D01BA83}" dt="2021-10-19T03:13:43.154" v="485" actId="255"/>
          <ac:spMkLst>
            <pc:docMk/>
            <pc:sldMk cId="3903358426" sldId="2145705984"/>
            <ac:spMk id="15" creationId="{1E566100-ADBB-4258-8EC3-23BBEEC9793D}"/>
          </ac:spMkLst>
        </pc:spChg>
        <pc:picChg chg="mod">
          <ac:chgData name="Ryan Ferry" userId="a0b0b523-e3eb-411d-86d6-f860ef896bab" providerId="ADAL" clId="{264F420C-B84A-4C9C-BA16-22036D01BA83}" dt="2021-10-19T03:09:46.406" v="452" actId="1076"/>
          <ac:picMkLst>
            <pc:docMk/>
            <pc:sldMk cId="3903358426" sldId="2145705984"/>
            <ac:picMk id="1026" creationId="{5CCD62C3-BC47-4553-B569-3A7335C53E89}"/>
          </ac:picMkLst>
        </pc:picChg>
      </pc:sldChg>
      <pc:sldChg chg="modSp mod modNotesTx">
        <pc:chgData name="Ryan Ferry" userId="a0b0b523-e3eb-411d-86d6-f860ef896bab" providerId="ADAL" clId="{264F420C-B84A-4C9C-BA16-22036D01BA83}" dt="2021-10-19T03:15:20.386" v="489" actId="20577"/>
        <pc:sldMkLst>
          <pc:docMk/>
          <pc:sldMk cId="579524891" sldId="2145705985"/>
        </pc:sldMkLst>
        <pc:spChg chg="mod">
          <ac:chgData name="Ryan Ferry" userId="a0b0b523-e3eb-411d-86d6-f860ef896bab" providerId="ADAL" clId="{264F420C-B84A-4C9C-BA16-22036D01BA83}" dt="2021-10-19T02:33:08.894" v="371" actId="255"/>
          <ac:spMkLst>
            <pc:docMk/>
            <pc:sldMk cId="579524891" sldId="2145705985"/>
            <ac:spMk id="15" creationId="{1E566100-ADBB-4258-8EC3-23BBEEC9793D}"/>
          </ac:spMkLst>
        </pc:spChg>
      </pc:sldChg>
      <pc:sldChg chg="addSp delSp modSp mod modNotesTx">
        <pc:chgData name="Ryan Ferry" userId="a0b0b523-e3eb-411d-86d6-f860ef896bab" providerId="ADAL" clId="{264F420C-B84A-4C9C-BA16-22036D01BA83}" dt="2021-10-19T03:23:09.449" v="494"/>
        <pc:sldMkLst>
          <pc:docMk/>
          <pc:sldMk cId="62054550" sldId="2145705986"/>
        </pc:sldMkLst>
        <pc:spChg chg="add del">
          <ac:chgData name="Ryan Ferry" userId="a0b0b523-e3eb-411d-86d6-f860ef896bab" providerId="ADAL" clId="{264F420C-B84A-4C9C-BA16-22036D01BA83}" dt="2021-10-19T02:42:40.105" v="390" actId="22"/>
          <ac:spMkLst>
            <pc:docMk/>
            <pc:sldMk cId="62054550" sldId="2145705986"/>
            <ac:spMk id="5" creationId="{F8CC2B24-0635-4C4C-8313-15D34F572CD5}"/>
          </ac:spMkLst>
        </pc:spChg>
        <pc:spChg chg="mod">
          <ac:chgData name="Ryan Ferry" userId="a0b0b523-e3eb-411d-86d6-f860ef896bab" providerId="ADAL" clId="{264F420C-B84A-4C9C-BA16-22036D01BA83}" dt="2021-10-19T03:23:09.449" v="494"/>
          <ac:spMkLst>
            <pc:docMk/>
            <pc:sldMk cId="62054550" sldId="2145705986"/>
            <ac:spMk id="15" creationId="{1E566100-ADBB-4258-8EC3-23BBEEC9793D}"/>
          </ac:spMkLst>
        </pc:spChg>
      </pc:sldChg>
      <pc:sldChg chg="addSp modSp add mod modNotesTx">
        <pc:chgData name="Ryan Ferry" userId="a0b0b523-e3eb-411d-86d6-f860ef896bab" providerId="ADAL" clId="{264F420C-B84A-4C9C-BA16-22036D01BA83}" dt="2021-10-19T03:15:13.516" v="488"/>
        <pc:sldMkLst>
          <pc:docMk/>
          <pc:sldMk cId="4277247487" sldId="2145705988"/>
        </pc:sldMkLst>
        <pc:spChg chg="mod">
          <ac:chgData name="Ryan Ferry" userId="a0b0b523-e3eb-411d-86d6-f860ef896bab" providerId="ADAL" clId="{264F420C-B84A-4C9C-BA16-22036D01BA83}" dt="2021-10-18T20:47:06.936" v="348"/>
          <ac:spMkLst>
            <pc:docMk/>
            <pc:sldMk cId="4277247487" sldId="2145705988"/>
            <ac:spMk id="5" creationId="{86883B16-52E0-45DE-BDE6-0DD420A3782B}"/>
          </ac:spMkLst>
        </pc:spChg>
        <pc:spChg chg="mod">
          <ac:chgData name="Ryan Ferry" userId="a0b0b523-e3eb-411d-86d6-f860ef896bab" providerId="ADAL" clId="{264F420C-B84A-4C9C-BA16-22036D01BA83}" dt="2021-10-18T20:46:56.528" v="347" actId="20577"/>
          <ac:spMkLst>
            <pc:docMk/>
            <pc:sldMk cId="4277247487" sldId="2145705988"/>
            <ac:spMk id="6" creationId="{DA82DD4E-DDB8-49CB-82D1-935E4AADC8F0}"/>
          </ac:spMkLst>
        </pc:spChg>
        <pc:spChg chg="mod">
          <ac:chgData name="Ryan Ferry" userId="a0b0b523-e3eb-411d-86d6-f860ef896bab" providerId="ADAL" clId="{264F420C-B84A-4C9C-BA16-22036D01BA83}" dt="2021-10-18T20:47:06.936" v="348"/>
          <ac:spMkLst>
            <pc:docMk/>
            <pc:sldMk cId="4277247487" sldId="2145705988"/>
            <ac:spMk id="8" creationId="{561269AE-4032-48FC-93EA-81C3F232C66B}"/>
          </ac:spMkLst>
        </pc:spChg>
        <pc:spChg chg="mod">
          <ac:chgData name="Ryan Ferry" userId="a0b0b523-e3eb-411d-86d6-f860ef896bab" providerId="ADAL" clId="{264F420C-B84A-4C9C-BA16-22036D01BA83}" dt="2021-10-18T20:47:06.936" v="348"/>
          <ac:spMkLst>
            <pc:docMk/>
            <pc:sldMk cId="4277247487" sldId="2145705988"/>
            <ac:spMk id="9" creationId="{425007C9-36BF-4D43-9488-1D0622E34730}"/>
          </ac:spMkLst>
        </pc:spChg>
        <pc:spChg chg="mod">
          <ac:chgData name="Ryan Ferry" userId="a0b0b523-e3eb-411d-86d6-f860ef896bab" providerId="ADAL" clId="{264F420C-B84A-4C9C-BA16-22036D01BA83}" dt="2021-10-18T20:47:06.936" v="348"/>
          <ac:spMkLst>
            <pc:docMk/>
            <pc:sldMk cId="4277247487" sldId="2145705988"/>
            <ac:spMk id="10" creationId="{F8C5BE0E-A9BF-4D8E-99F9-A189BAB217E3}"/>
          </ac:spMkLst>
        </pc:spChg>
        <pc:spChg chg="mod">
          <ac:chgData name="Ryan Ferry" userId="a0b0b523-e3eb-411d-86d6-f860ef896bab" providerId="ADAL" clId="{264F420C-B84A-4C9C-BA16-22036D01BA83}" dt="2021-10-18T20:47:06.936" v="348"/>
          <ac:spMkLst>
            <pc:docMk/>
            <pc:sldMk cId="4277247487" sldId="2145705988"/>
            <ac:spMk id="11" creationId="{64E3BB4E-E5EF-41B3-9CD2-6D995D24ACA8}"/>
          </ac:spMkLst>
        </pc:spChg>
        <pc:spChg chg="mod">
          <ac:chgData name="Ryan Ferry" userId="a0b0b523-e3eb-411d-86d6-f860ef896bab" providerId="ADAL" clId="{264F420C-B84A-4C9C-BA16-22036D01BA83}" dt="2021-10-18T20:47:06.936" v="348"/>
          <ac:spMkLst>
            <pc:docMk/>
            <pc:sldMk cId="4277247487" sldId="2145705988"/>
            <ac:spMk id="12" creationId="{AABF28A7-43E4-41E1-9297-F207ECBEF270}"/>
          </ac:spMkLst>
        </pc:spChg>
        <pc:spChg chg="mod">
          <ac:chgData name="Ryan Ferry" userId="a0b0b523-e3eb-411d-86d6-f860ef896bab" providerId="ADAL" clId="{264F420C-B84A-4C9C-BA16-22036D01BA83}" dt="2021-10-18T20:47:06.936" v="348"/>
          <ac:spMkLst>
            <pc:docMk/>
            <pc:sldMk cId="4277247487" sldId="2145705988"/>
            <ac:spMk id="13" creationId="{3C65AC8C-8B97-40A8-88A7-454FF6D65E7F}"/>
          </ac:spMkLst>
        </pc:spChg>
        <pc:spChg chg="mod">
          <ac:chgData name="Ryan Ferry" userId="a0b0b523-e3eb-411d-86d6-f860ef896bab" providerId="ADAL" clId="{264F420C-B84A-4C9C-BA16-22036D01BA83}" dt="2021-10-18T20:47:06.936" v="348"/>
          <ac:spMkLst>
            <pc:docMk/>
            <pc:sldMk cId="4277247487" sldId="2145705988"/>
            <ac:spMk id="14" creationId="{42E25EB7-F249-4C4F-8D47-63CD0CE22E78}"/>
          </ac:spMkLst>
        </pc:spChg>
        <pc:spChg chg="mod">
          <ac:chgData name="Ryan Ferry" userId="a0b0b523-e3eb-411d-86d6-f860ef896bab" providerId="ADAL" clId="{264F420C-B84A-4C9C-BA16-22036D01BA83}" dt="2021-10-19T02:33:18.223" v="372" actId="1076"/>
          <ac:spMkLst>
            <pc:docMk/>
            <pc:sldMk cId="4277247487" sldId="2145705988"/>
            <ac:spMk id="15" creationId="{1E566100-ADBB-4258-8EC3-23BBEEC9793D}"/>
          </ac:spMkLst>
        </pc:spChg>
        <pc:spChg chg="mod">
          <ac:chgData name="Ryan Ferry" userId="a0b0b523-e3eb-411d-86d6-f860ef896bab" providerId="ADAL" clId="{264F420C-B84A-4C9C-BA16-22036D01BA83}" dt="2021-10-18T20:47:06.936" v="348"/>
          <ac:spMkLst>
            <pc:docMk/>
            <pc:sldMk cId="4277247487" sldId="2145705988"/>
            <ac:spMk id="16" creationId="{533CF9D4-6C76-432D-AB1B-AF5003D7EBAE}"/>
          </ac:spMkLst>
        </pc:spChg>
        <pc:spChg chg="mod">
          <ac:chgData name="Ryan Ferry" userId="a0b0b523-e3eb-411d-86d6-f860ef896bab" providerId="ADAL" clId="{264F420C-B84A-4C9C-BA16-22036D01BA83}" dt="2021-10-18T20:47:06.936" v="348"/>
          <ac:spMkLst>
            <pc:docMk/>
            <pc:sldMk cId="4277247487" sldId="2145705988"/>
            <ac:spMk id="17" creationId="{B1AAD292-2066-4CAC-AA40-C81FCE084583}"/>
          </ac:spMkLst>
        </pc:spChg>
        <pc:spChg chg="mod">
          <ac:chgData name="Ryan Ferry" userId="a0b0b523-e3eb-411d-86d6-f860ef896bab" providerId="ADAL" clId="{264F420C-B84A-4C9C-BA16-22036D01BA83}" dt="2021-10-18T20:47:06.936" v="348"/>
          <ac:spMkLst>
            <pc:docMk/>
            <pc:sldMk cId="4277247487" sldId="2145705988"/>
            <ac:spMk id="18" creationId="{17BDD8E7-3C82-49AC-94A2-A96671011C52}"/>
          </ac:spMkLst>
        </pc:spChg>
        <pc:spChg chg="mod">
          <ac:chgData name="Ryan Ferry" userId="a0b0b523-e3eb-411d-86d6-f860ef896bab" providerId="ADAL" clId="{264F420C-B84A-4C9C-BA16-22036D01BA83}" dt="2021-10-18T20:47:06.936" v="348"/>
          <ac:spMkLst>
            <pc:docMk/>
            <pc:sldMk cId="4277247487" sldId="2145705988"/>
            <ac:spMk id="19" creationId="{9A9044EE-2DA4-4584-8CEB-E610AEC5C75A}"/>
          </ac:spMkLst>
        </pc:spChg>
        <pc:spChg chg="mod">
          <ac:chgData name="Ryan Ferry" userId="a0b0b523-e3eb-411d-86d6-f860ef896bab" providerId="ADAL" clId="{264F420C-B84A-4C9C-BA16-22036D01BA83}" dt="2021-10-18T20:47:06.936" v="348"/>
          <ac:spMkLst>
            <pc:docMk/>
            <pc:sldMk cId="4277247487" sldId="2145705988"/>
            <ac:spMk id="20" creationId="{A8A0803C-B2DF-45F5-8D9C-85ADF8D0C316}"/>
          </ac:spMkLst>
        </pc:spChg>
        <pc:spChg chg="mod">
          <ac:chgData name="Ryan Ferry" userId="a0b0b523-e3eb-411d-86d6-f860ef896bab" providerId="ADAL" clId="{264F420C-B84A-4C9C-BA16-22036D01BA83}" dt="2021-10-18T20:47:06.936" v="348"/>
          <ac:spMkLst>
            <pc:docMk/>
            <pc:sldMk cId="4277247487" sldId="2145705988"/>
            <ac:spMk id="21" creationId="{B1956A8D-9DB6-44DD-8A3D-866197F151CC}"/>
          </ac:spMkLst>
        </pc:spChg>
        <pc:grpChg chg="add mod">
          <ac:chgData name="Ryan Ferry" userId="a0b0b523-e3eb-411d-86d6-f860ef896bab" providerId="ADAL" clId="{264F420C-B84A-4C9C-BA16-22036D01BA83}" dt="2021-10-18T20:47:12.359" v="350" actId="1076"/>
          <ac:grpSpMkLst>
            <pc:docMk/>
            <pc:sldMk cId="4277247487" sldId="2145705988"/>
            <ac:grpSpMk id="4" creationId="{14CDD181-0848-47F5-8C28-9DCF244CB40C}"/>
          </ac:grpSpMkLst>
        </pc:grpChg>
        <pc:grpChg chg="mod">
          <ac:chgData name="Ryan Ferry" userId="a0b0b523-e3eb-411d-86d6-f860ef896bab" providerId="ADAL" clId="{264F420C-B84A-4C9C-BA16-22036D01BA83}" dt="2021-10-18T20:47:06.936" v="348"/>
          <ac:grpSpMkLst>
            <pc:docMk/>
            <pc:sldMk cId="4277247487" sldId="2145705988"/>
            <ac:grpSpMk id="7" creationId="{8F23F8F5-F215-486C-BE68-9CC2414C8345}"/>
          </ac:grpSpMkLst>
        </pc:grpChg>
      </pc:sldChg>
    </pc:docChg>
  </pc:docChgLst>
  <pc:docChgLst>
    <pc:chgData name="Vanessa Le" userId="S::vanessale@microsoft.com::72e3f9c3-8f62-4cb4-90c2-bfdab83f9f4e" providerId="AD" clId="Web-{2753563B-C29B-B66A-DE3B-F75AAA387B2C}"/>
    <pc:docChg chg="modSld">
      <pc:chgData name="Vanessa Le" userId="S::vanessale@microsoft.com::72e3f9c3-8f62-4cb4-90c2-bfdab83f9f4e" providerId="AD" clId="Web-{2753563B-C29B-B66A-DE3B-F75AAA387B2C}" dt="2021-12-05T11:45:11.359" v="0" actId="1076"/>
      <pc:docMkLst>
        <pc:docMk/>
      </pc:docMkLst>
      <pc:sldChg chg="modSp">
        <pc:chgData name="Vanessa Le" userId="S::vanessale@microsoft.com::72e3f9c3-8f62-4cb4-90c2-bfdab83f9f4e" providerId="AD" clId="Web-{2753563B-C29B-B66A-DE3B-F75AAA387B2C}" dt="2021-12-05T11:45:11.359" v="0" actId="1076"/>
        <pc:sldMkLst>
          <pc:docMk/>
          <pc:sldMk cId="2957638688" sldId="2076136473"/>
        </pc:sldMkLst>
        <pc:picChg chg="mod">
          <ac:chgData name="Vanessa Le" userId="S::vanessale@microsoft.com::72e3f9c3-8f62-4cb4-90c2-bfdab83f9f4e" providerId="AD" clId="Web-{2753563B-C29B-B66A-DE3B-F75AAA387B2C}" dt="2021-12-05T11:45:11.359" v="0" actId="1076"/>
          <ac:picMkLst>
            <pc:docMk/>
            <pc:sldMk cId="2957638688" sldId="2076136473"/>
            <ac:picMk id="10" creationId="{3A644E8A-43E9-4F46-84EF-05FE6493957F}"/>
          </ac:picMkLst>
        </pc:picChg>
      </pc:sldChg>
    </pc:docChg>
  </pc:docChgLst>
  <pc:docChgLst>
    <pc:chgData name="Erick Moore" userId="96a732b2-26bb-45da-b8ee-37851dfdb22e" providerId="ADAL" clId="{A6768F3B-235C-4BDF-A79E-8DF5A2847A93}"/>
    <pc:docChg chg="undo custSel addSld delSld modSld sldOrd">
      <pc:chgData name="Erick Moore" userId="96a732b2-26bb-45da-b8ee-37851dfdb22e" providerId="ADAL" clId="{A6768F3B-235C-4BDF-A79E-8DF5A2847A93}" dt="2021-07-06T15:40:26.160" v="16953" actId="20577"/>
      <pc:docMkLst>
        <pc:docMk/>
      </pc:docMkLst>
      <pc:sldChg chg="del">
        <pc:chgData name="Erick Moore" userId="96a732b2-26bb-45da-b8ee-37851dfdb22e" providerId="ADAL" clId="{A6768F3B-235C-4BDF-A79E-8DF5A2847A93}" dt="2021-06-17T20:13:50.204" v="3411" actId="2696"/>
        <pc:sldMkLst>
          <pc:docMk/>
          <pc:sldMk cId="551133075" sldId="260"/>
        </pc:sldMkLst>
      </pc:sldChg>
      <pc:sldChg chg="addSp delSp modSp mod modAnim modNotesTx">
        <pc:chgData name="Erick Moore" userId="96a732b2-26bb-45da-b8ee-37851dfdb22e" providerId="ADAL" clId="{A6768F3B-235C-4BDF-A79E-8DF5A2847A93}" dt="2021-06-24T14:15:56.973" v="14220" actId="6549"/>
        <pc:sldMkLst>
          <pc:docMk/>
          <pc:sldMk cId="624349999" sldId="860"/>
        </pc:sldMkLst>
        <pc:spChg chg="del mod">
          <ac:chgData name="Erick Moore" userId="96a732b2-26bb-45da-b8ee-37851dfdb22e" providerId="ADAL" clId="{A6768F3B-235C-4BDF-A79E-8DF5A2847A93}" dt="2021-06-24T14:15:03.219" v="14205" actId="478"/>
          <ac:spMkLst>
            <pc:docMk/>
            <pc:sldMk cId="624349999" sldId="860"/>
            <ac:spMk id="3" creationId="{4C14F9C4-170A-49C7-A792-CCA2149A8B42}"/>
          </ac:spMkLst>
        </pc:spChg>
        <pc:spChg chg="add del mod">
          <ac:chgData name="Erick Moore" userId="96a732b2-26bb-45da-b8ee-37851dfdb22e" providerId="ADAL" clId="{A6768F3B-235C-4BDF-A79E-8DF5A2847A93}" dt="2021-06-24T14:12:33.361" v="14185" actId="478"/>
          <ac:spMkLst>
            <pc:docMk/>
            <pc:sldMk cId="624349999" sldId="860"/>
            <ac:spMk id="4" creationId="{979C3BDD-44C1-4D28-93D3-D218E23FAFB6}"/>
          </ac:spMkLst>
        </pc:spChg>
        <pc:spChg chg="add del mod">
          <ac:chgData name="Erick Moore" userId="96a732b2-26bb-45da-b8ee-37851dfdb22e" providerId="ADAL" clId="{A6768F3B-235C-4BDF-A79E-8DF5A2847A93}" dt="2021-06-24T14:12:20.991" v="14181" actId="478"/>
          <ac:spMkLst>
            <pc:docMk/>
            <pc:sldMk cId="624349999" sldId="860"/>
            <ac:spMk id="5" creationId="{5463E785-D02E-4CD1-8858-E14BC99BFC0D}"/>
          </ac:spMkLst>
        </pc:spChg>
        <pc:spChg chg="del">
          <ac:chgData name="Erick Moore" userId="96a732b2-26bb-45da-b8ee-37851dfdb22e" providerId="ADAL" clId="{A6768F3B-235C-4BDF-A79E-8DF5A2847A93}" dt="2021-06-18T18:23:33.287" v="7827" actId="478"/>
          <ac:spMkLst>
            <pc:docMk/>
            <pc:sldMk cId="624349999" sldId="860"/>
            <ac:spMk id="5" creationId="{B9ADE781-49C0-4D63-93AA-8C277A4CDBA3}"/>
          </ac:spMkLst>
        </pc:spChg>
        <pc:spChg chg="add del mod">
          <ac:chgData name="Erick Moore" userId="96a732b2-26bb-45da-b8ee-37851dfdb22e" providerId="ADAL" clId="{A6768F3B-235C-4BDF-A79E-8DF5A2847A93}" dt="2021-06-18T18:23:35.885" v="7828" actId="478"/>
          <ac:spMkLst>
            <pc:docMk/>
            <pc:sldMk cId="624349999" sldId="860"/>
            <ac:spMk id="7" creationId="{B659E849-AC8D-4AAF-9C6C-867AE5692CB2}"/>
          </ac:spMkLst>
        </pc:spChg>
        <pc:spChg chg="add mod">
          <ac:chgData name="Erick Moore" userId="96a732b2-26bb-45da-b8ee-37851dfdb22e" providerId="ADAL" clId="{A6768F3B-235C-4BDF-A79E-8DF5A2847A93}" dt="2021-06-24T14:15:56.973" v="14220" actId="6549"/>
          <ac:spMkLst>
            <pc:docMk/>
            <pc:sldMk cId="624349999" sldId="860"/>
            <ac:spMk id="8" creationId="{0575DA1D-F462-4BFC-9085-1A3F1103CAB1}"/>
          </ac:spMkLst>
        </pc:spChg>
        <pc:spChg chg="add mod">
          <ac:chgData name="Erick Moore" userId="96a732b2-26bb-45da-b8ee-37851dfdb22e" providerId="ADAL" clId="{A6768F3B-235C-4BDF-A79E-8DF5A2847A93}" dt="2021-06-24T14:11:56.297" v="14176" actId="20577"/>
          <ac:spMkLst>
            <pc:docMk/>
            <pc:sldMk cId="624349999" sldId="860"/>
            <ac:spMk id="9" creationId="{5381D660-30F4-4456-8A19-788360AA3AEC}"/>
          </ac:spMkLst>
        </pc:spChg>
        <pc:cxnChg chg="add del mod">
          <ac:chgData name="Erick Moore" userId="96a732b2-26bb-45da-b8ee-37851dfdb22e" providerId="ADAL" clId="{A6768F3B-235C-4BDF-A79E-8DF5A2847A93}" dt="2021-06-18T19:01:11.279" v="8256" actId="478"/>
          <ac:cxnSpMkLst>
            <pc:docMk/>
            <pc:sldMk cId="624349999" sldId="860"/>
            <ac:cxnSpMk id="6" creationId="{9AB2CE20-4D59-4730-8264-45BD9B0FB861}"/>
          </ac:cxnSpMkLst>
        </pc:cxnChg>
      </pc:sldChg>
      <pc:sldChg chg="del">
        <pc:chgData name="Erick Moore" userId="96a732b2-26bb-45da-b8ee-37851dfdb22e" providerId="ADAL" clId="{A6768F3B-235C-4BDF-A79E-8DF5A2847A93}" dt="2021-06-17T20:13:50.204" v="3411" actId="2696"/>
        <pc:sldMkLst>
          <pc:docMk/>
          <pc:sldMk cId="4264580905" sldId="1557"/>
        </pc:sldMkLst>
      </pc:sldChg>
      <pc:sldChg chg="del">
        <pc:chgData name="Erick Moore" userId="96a732b2-26bb-45da-b8ee-37851dfdb22e" providerId="ADAL" clId="{A6768F3B-235C-4BDF-A79E-8DF5A2847A93}" dt="2021-06-17T20:13:50.204" v="3411" actId="2696"/>
        <pc:sldMkLst>
          <pc:docMk/>
          <pc:sldMk cId="4039609955" sldId="1737"/>
        </pc:sldMkLst>
      </pc:sldChg>
      <pc:sldChg chg="del">
        <pc:chgData name="Erick Moore" userId="96a732b2-26bb-45da-b8ee-37851dfdb22e" providerId="ADAL" clId="{A6768F3B-235C-4BDF-A79E-8DF5A2847A93}" dt="2021-06-17T19:29:11.622" v="2423" actId="2696"/>
        <pc:sldMkLst>
          <pc:docMk/>
          <pc:sldMk cId="4228480291" sldId="4653"/>
        </pc:sldMkLst>
      </pc:sldChg>
      <pc:sldChg chg="delSp modSp del mod">
        <pc:chgData name="Erick Moore" userId="96a732b2-26bb-45da-b8ee-37851dfdb22e" providerId="ADAL" clId="{A6768F3B-235C-4BDF-A79E-8DF5A2847A93}" dt="2021-06-18T12:43:49.853" v="5406" actId="2696"/>
        <pc:sldMkLst>
          <pc:docMk/>
          <pc:sldMk cId="979160864" sldId="4654"/>
        </pc:sldMkLst>
        <pc:spChg chg="mod">
          <ac:chgData name="Erick Moore" userId="96a732b2-26bb-45da-b8ee-37851dfdb22e" providerId="ADAL" clId="{A6768F3B-235C-4BDF-A79E-8DF5A2847A93}" dt="2021-06-17T12:22:36.303" v="79" actId="20577"/>
          <ac:spMkLst>
            <pc:docMk/>
            <pc:sldMk cId="979160864" sldId="4654"/>
            <ac:spMk id="3" creationId="{3EA7672F-A3E6-4E1C-BE04-7C46A3FFCB0A}"/>
          </ac:spMkLst>
        </pc:spChg>
        <pc:spChg chg="del">
          <ac:chgData name="Erick Moore" userId="96a732b2-26bb-45da-b8ee-37851dfdb22e" providerId="ADAL" clId="{A6768F3B-235C-4BDF-A79E-8DF5A2847A93}" dt="2021-06-17T12:19:49.449" v="1" actId="478"/>
          <ac:spMkLst>
            <pc:docMk/>
            <pc:sldMk cId="979160864" sldId="4654"/>
            <ac:spMk id="34" creationId="{2522C668-68EA-4D0C-AF0F-C1E9EA1CBA3B}"/>
          </ac:spMkLst>
        </pc:spChg>
        <pc:spChg chg="mod">
          <ac:chgData name="Erick Moore" userId="96a732b2-26bb-45da-b8ee-37851dfdb22e" providerId="ADAL" clId="{A6768F3B-235C-4BDF-A79E-8DF5A2847A93}" dt="2021-06-17T12:21:02.881" v="12" actId="207"/>
          <ac:spMkLst>
            <pc:docMk/>
            <pc:sldMk cId="979160864" sldId="4654"/>
            <ac:spMk id="36" creationId="{7FB42DD9-CC13-439F-8A2A-9BEEE5F1454D}"/>
          </ac:spMkLst>
        </pc:spChg>
        <pc:spChg chg="mod">
          <ac:chgData name="Erick Moore" userId="96a732b2-26bb-45da-b8ee-37851dfdb22e" providerId="ADAL" clId="{A6768F3B-235C-4BDF-A79E-8DF5A2847A93}" dt="2021-06-17T12:20:54.495" v="11" actId="207"/>
          <ac:spMkLst>
            <pc:docMk/>
            <pc:sldMk cId="979160864" sldId="4654"/>
            <ac:spMk id="55" creationId="{DBE5BD2F-883B-4140-B565-92F427B5240E}"/>
          </ac:spMkLst>
        </pc:spChg>
        <pc:spChg chg="mod">
          <ac:chgData name="Erick Moore" userId="96a732b2-26bb-45da-b8ee-37851dfdb22e" providerId="ADAL" clId="{A6768F3B-235C-4BDF-A79E-8DF5A2847A93}" dt="2021-06-17T12:19:44.284" v="0" actId="207"/>
          <ac:spMkLst>
            <pc:docMk/>
            <pc:sldMk cId="979160864" sldId="4654"/>
            <ac:spMk id="84" creationId="{3893DF71-3632-4127-8A9E-69B89D986B9D}"/>
          </ac:spMkLst>
        </pc:spChg>
        <pc:spChg chg="del mod">
          <ac:chgData name="Erick Moore" userId="96a732b2-26bb-45da-b8ee-37851dfdb22e" providerId="ADAL" clId="{A6768F3B-235C-4BDF-A79E-8DF5A2847A93}" dt="2021-06-17T12:19:53.094" v="4" actId="478"/>
          <ac:spMkLst>
            <pc:docMk/>
            <pc:sldMk cId="979160864" sldId="4654"/>
            <ac:spMk id="85" creationId="{D3E3EF8C-F428-4557-90B6-E23F2565242A}"/>
          </ac:spMkLst>
        </pc:spChg>
        <pc:spChg chg="mod">
          <ac:chgData name="Erick Moore" userId="96a732b2-26bb-45da-b8ee-37851dfdb22e" providerId="ADAL" clId="{A6768F3B-235C-4BDF-A79E-8DF5A2847A93}" dt="2021-06-17T12:22:08.599" v="72" actId="20577"/>
          <ac:spMkLst>
            <pc:docMk/>
            <pc:sldMk cId="979160864" sldId="4654"/>
            <ac:spMk id="140" creationId="{3938EB7E-81E6-4C45-BE60-A928605D2F09}"/>
          </ac:spMkLst>
        </pc:spChg>
        <pc:spChg chg="mod">
          <ac:chgData name="Erick Moore" userId="96a732b2-26bb-45da-b8ee-37851dfdb22e" providerId="ADAL" clId="{A6768F3B-235C-4BDF-A79E-8DF5A2847A93}" dt="2021-06-17T12:20:45.853" v="10" actId="207"/>
          <ac:spMkLst>
            <pc:docMk/>
            <pc:sldMk cId="979160864" sldId="4654"/>
            <ac:spMk id="231" creationId="{0E591C3C-16DB-4C19-AFAF-459FF32CF6A3}"/>
          </ac:spMkLst>
        </pc:spChg>
        <pc:spChg chg="mod">
          <ac:chgData name="Erick Moore" userId="96a732b2-26bb-45da-b8ee-37851dfdb22e" providerId="ADAL" clId="{A6768F3B-235C-4BDF-A79E-8DF5A2847A93}" dt="2021-06-17T12:21:44.784" v="23" actId="6549"/>
          <ac:spMkLst>
            <pc:docMk/>
            <pc:sldMk cId="979160864" sldId="4654"/>
            <ac:spMk id="289" creationId="{F2A40960-61F2-4130-8772-2EA73AB9D15F}"/>
          </ac:spMkLst>
        </pc:spChg>
        <pc:grpChg chg="del">
          <ac:chgData name="Erick Moore" userId="96a732b2-26bb-45da-b8ee-37851dfdb22e" providerId="ADAL" clId="{A6768F3B-235C-4BDF-A79E-8DF5A2847A93}" dt="2021-06-17T12:19:50.599" v="2" actId="478"/>
          <ac:grpSpMkLst>
            <pc:docMk/>
            <pc:sldMk cId="979160864" sldId="4654"/>
            <ac:grpSpMk id="60" creationId="{00AB6F40-E1CF-469E-99FE-61C35CDA7CC3}"/>
          </ac:grpSpMkLst>
        </pc:grpChg>
        <pc:grpChg chg="del">
          <ac:chgData name="Erick Moore" userId="96a732b2-26bb-45da-b8ee-37851dfdb22e" providerId="ADAL" clId="{A6768F3B-235C-4BDF-A79E-8DF5A2847A93}" dt="2021-06-17T12:20:03.031" v="7" actId="478"/>
          <ac:grpSpMkLst>
            <pc:docMk/>
            <pc:sldMk cId="979160864" sldId="4654"/>
            <ac:grpSpMk id="295" creationId="{8B079811-76E1-4573-BF5C-3EAC3CC309C6}"/>
          </ac:grpSpMkLst>
        </pc:grpChg>
        <pc:grpChg chg="del">
          <ac:chgData name="Erick Moore" userId="96a732b2-26bb-45da-b8ee-37851dfdb22e" providerId="ADAL" clId="{A6768F3B-235C-4BDF-A79E-8DF5A2847A93}" dt="2021-06-17T12:20:04.096" v="8" actId="478"/>
          <ac:grpSpMkLst>
            <pc:docMk/>
            <pc:sldMk cId="979160864" sldId="4654"/>
            <ac:grpSpMk id="299" creationId="{76FCECE6-429D-492E-9FF7-94774A914F86}"/>
          </ac:grpSpMkLst>
        </pc:grpChg>
        <pc:graphicFrameChg chg="del">
          <ac:chgData name="Erick Moore" userId="96a732b2-26bb-45da-b8ee-37851dfdb22e" providerId="ADAL" clId="{A6768F3B-235C-4BDF-A79E-8DF5A2847A93}" dt="2021-06-17T12:20:27.792" v="9" actId="478"/>
          <ac:graphicFrameMkLst>
            <pc:docMk/>
            <pc:sldMk cId="979160864" sldId="4654"/>
            <ac:graphicFrameMk id="20" creationId="{D65ADFC1-0CA6-418E-8C29-84E853F9992F}"/>
          </ac:graphicFrameMkLst>
        </pc:graphicFrameChg>
        <pc:picChg chg="del">
          <ac:chgData name="Erick Moore" userId="96a732b2-26bb-45da-b8ee-37851dfdb22e" providerId="ADAL" clId="{A6768F3B-235C-4BDF-A79E-8DF5A2847A93}" dt="2021-06-17T12:20:01.028" v="5" actId="478"/>
          <ac:picMkLst>
            <pc:docMk/>
            <pc:sldMk cId="979160864" sldId="4654"/>
            <ac:picMk id="183" creationId="{AAABE91C-4C4F-40A5-A5D1-9DB6A1E69EF9}"/>
          </ac:picMkLst>
        </pc:picChg>
        <pc:picChg chg="del">
          <ac:chgData name="Erick Moore" userId="96a732b2-26bb-45da-b8ee-37851dfdb22e" providerId="ADAL" clId="{A6768F3B-235C-4BDF-A79E-8DF5A2847A93}" dt="2021-06-17T12:20:01.988" v="6" actId="478"/>
          <ac:picMkLst>
            <pc:docMk/>
            <pc:sldMk cId="979160864" sldId="4654"/>
            <ac:picMk id="185" creationId="{C4A50EF0-CC3C-4969-8695-4A9F353FE219}"/>
          </ac:picMkLst>
        </pc:picChg>
      </pc:sldChg>
      <pc:sldChg chg="del">
        <pc:chgData name="Erick Moore" userId="96a732b2-26bb-45da-b8ee-37851dfdb22e" providerId="ADAL" clId="{A6768F3B-235C-4BDF-A79E-8DF5A2847A93}" dt="2021-06-18T15:51:00.978" v="7776" actId="2696"/>
        <pc:sldMkLst>
          <pc:docMk/>
          <pc:sldMk cId="4066863464" sldId="4685"/>
        </pc:sldMkLst>
      </pc:sldChg>
      <pc:sldChg chg="del">
        <pc:chgData name="Erick Moore" userId="96a732b2-26bb-45da-b8ee-37851dfdb22e" providerId="ADAL" clId="{A6768F3B-235C-4BDF-A79E-8DF5A2847A93}" dt="2021-06-17T19:29:05.766" v="2422" actId="2696"/>
        <pc:sldMkLst>
          <pc:docMk/>
          <pc:sldMk cId="3120924676" sldId="4690"/>
        </pc:sldMkLst>
      </pc:sldChg>
      <pc:sldChg chg="del">
        <pc:chgData name="Erick Moore" userId="96a732b2-26bb-45da-b8ee-37851dfdb22e" providerId="ADAL" clId="{A6768F3B-235C-4BDF-A79E-8DF5A2847A93}" dt="2021-06-17T20:13:50.204" v="3411" actId="2696"/>
        <pc:sldMkLst>
          <pc:docMk/>
          <pc:sldMk cId="348403479" sldId="9884"/>
        </pc:sldMkLst>
      </pc:sldChg>
      <pc:sldChg chg="del">
        <pc:chgData name="Erick Moore" userId="96a732b2-26bb-45da-b8ee-37851dfdb22e" providerId="ADAL" clId="{A6768F3B-235C-4BDF-A79E-8DF5A2847A93}" dt="2021-06-17T20:14:19.269" v="3414" actId="2696"/>
        <pc:sldMkLst>
          <pc:docMk/>
          <pc:sldMk cId="2201566731" sldId="11635"/>
        </pc:sldMkLst>
      </pc:sldChg>
      <pc:sldChg chg="modSp mod modNotesTx">
        <pc:chgData name="Erick Moore" userId="96a732b2-26bb-45da-b8ee-37851dfdb22e" providerId="ADAL" clId="{A6768F3B-235C-4BDF-A79E-8DF5A2847A93}" dt="2021-06-24T13:26:32.376" v="11794" actId="20577"/>
        <pc:sldMkLst>
          <pc:docMk/>
          <pc:sldMk cId="2957638688" sldId="2076136473"/>
        </pc:sldMkLst>
        <pc:spChg chg="mod">
          <ac:chgData name="Erick Moore" userId="96a732b2-26bb-45da-b8ee-37851dfdb22e" providerId="ADAL" clId="{A6768F3B-235C-4BDF-A79E-8DF5A2847A93}" dt="2021-06-17T15:05:54.796" v="248" actId="207"/>
          <ac:spMkLst>
            <pc:docMk/>
            <pc:sldMk cId="2957638688" sldId="2076136473"/>
            <ac:spMk id="449" creationId="{104C9FEA-8DF9-3F46-8E74-912079909131}"/>
          </ac:spMkLst>
        </pc:spChg>
        <pc:picChg chg="mod">
          <ac:chgData name="Erick Moore" userId="96a732b2-26bb-45da-b8ee-37851dfdb22e" providerId="ADAL" clId="{A6768F3B-235C-4BDF-A79E-8DF5A2847A93}" dt="2021-06-17T15:06:18.691" v="250" actId="1366"/>
          <ac:picMkLst>
            <pc:docMk/>
            <pc:sldMk cId="2957638688" sldId="2076136473"/>
            <ac:picMk id="193" creationId="{4A5B63C2-66C6-E448-87DD-EF6BE912ABD3}"/>
          </ac:picMkLst>
        </pc:picChg>
        <pc:picChg chg="mod">
          <ac:chgData name="Erick Moore" userId="96a732b2-26bb-45da-b8ee-37851dfdb22e" providerId="ADAL" clId="{A6768F3B-235C-4BDF-A79E-8DF5A2847A93}" dt="2021-06-17T15:05:06.411" v="245" actId="1366"/>
          <ac:picMkLst>
            <pc:docMk/>
            <pc:sldMk cId="2957638688" sldId="2076136473"/>
            <ac:picMk id="198" creationId="{53DACDBE-4D9C-DC49-B623-BE5F00B57E6A}"/>
          </ac:picMkLst>
        </pc:picChg>
        <pc:picChg chg="mod">
          <ac:chgData name="Erick Moore" userId="96a732b2-26bb-45da-b8ee-37851dfdb22e" providerId="ADAL" clId="{A6768F3B-235C-4BDF-A79E-8DF5A2847A93}" dt="2021-06-17T15:05:24.316" v="246" actId="1366"/>
          <ac:picMkLst>
            <pc:docMk/>
            <pc:sldMk cId="2957638688" sldId="2076136473"/>
            <ac:picMk id="203" creationId="{102EECCB-2BE6-3C49-902E-BD56A1DB850D}"/>
          </ac:picMkLst>
        </pc:picChg>
        <pc:picChg chg="mod">
          <ac:chgData name="Erick Moore" userId="96a732b2-26bb-45da-b8ee-37851dfdb22e" providerId="ADAL" clId="{A6768F3B-235C-4BDF-A79E-8DF5A2847A93}" dt="2021-06-17T15:06:03.943" v="249" actId="1366"/>
          <ac:picMkLst>
            <pc:docMk/>
            <pc:sldMk cId="2957638688" sldId="2076136473"/>
            <ac:picMk id="210" creationId="{D72E2FFB-CEAB-D142-9D94-B40DA71F8CB6}"/>
          </ac:picMkLst>
        </pc:picChg>
        <pc:picChg chg="mod">
          <ac:chgData name="Erick Moore" userId="96a732b2-26bb-45da-b8ee-37851dfdb22e" providerId="ADAL" clId="{A6768F3B-235C-4BDF-A79E-8DF5A2847A93}" dt="2021-06-17T15:06:37.063" v="252" actId="1366"/>
          <ac:picMkLst>
            <pc:docMk/>
            <pc:sldMk cId="2957638688" sldId="2076136473"/>
            <ac:picMk id="257" creationId="{E3E212B7-0FC2-7E48-92A8-8C59D07A71EF}"/>
          </ac:picMkLst>
        </pc:picChg>
        <pc:picChg chg="mod">
          <ac:chgData name="Erick Moore" userId="96a732b2-26bb-45da-b8ee-37851dfdb22e" providerId="ADAL" clId="{A6768F3B-235C-4BDF-A79E-8DF5A2847A93}" dt="2021-06-17T15:06:26.542" v="251" actId="1366"/>
          <ac:picMkLst>
            <pc:docMk/>
            <pc:sldMk cId="2957638688" sldId="2076136473"/>
            <ac:picMk id="260" creationId="{19E57FA8-E66C-0741-B386-27E6E4A41EBB}"/>
          </ac:picMkLst>
        </pc:picChg>
      </pc:sldChg>
      <pc:sldChg chg="del">
        <pc:chgData name="Erick Moore" userId="96a732b2-26bb-45da-b8ee-37851dfdb22e" providerId="ADAL" clId="{A6768F3B-235C-4BDF-A79E-8DF5A2847A93}" dt="2021-06-17T20:13:50.204" v="3411" actId="2696"/>
        <pc:sldMkLst>
          <pc:docMk/>
          <pc:sldMk cId="153495696" sldId="2076136662"/>
        </pc:sldMkLst>
      </pc:sldChg>
      <pc:sldChg chg="del">
        <pc:chgData name="Erick Moore" userId="96a732b2-26bb-45da-b8ee-37851dfdb22e" providerId="ADAL" clId="{A6768F3B-235C-4BDF-A79E-8DF5A2847A93}" dt="2021-06-17T20:13:50.204" v="3411" actId="2696"/>
        <pc:sldMkLst>
          <pc:docMk/>
          <pc:sldMk cId="1422445288" sldId="2076136674"/>
        </pc:sldMkLst>
      </pc:sldChg>
      <pc:sldChg chg="modTransition modNotesTx">
        <pc:chgData name="Erick Moore" userId="96a732b2-26bb-45da-b8ee-37851dfdb22e" providerId="ADAL" clId="{A6768F3B-235C-4BDF-A79E-8DF5A2847A93}" dt="2021-06-24T13:25:49.533" v="11776" actId="313"/>
        <pc:sldMkLst>
          <pc:docMk/>
          <pc:sldMk cId="1304360580" sldId="2076136747"/>
        </pc:sldMkLst>
      </pc:sldChg>
      <pc:sldChg chg="del">
        <pc:chgData name="Erick Moore" userId="96a732b2-26bb-45da-b8ee-37851dfdb22e" providerId="ADAL" clId="{A6768F3B-235C-4BDF-A79E-8DF5A2847A93}" dt="2021-06-17T20:13:50.204" v="3411" actId="2696"/>
        <pc:sldMkLst>
          <pc:docMk/>
          <pc:sldMk cId="1693561556" sldId="2076136773"/>
        </pc:sldMkLst>
      </pc:sldChg>
      <pc:sldChg chg="del">
        <pc:chgData name="Erick Moore" userId="96a732b2-26bb-45da-b8ee-37851dfdb22e" providerId="ADAL" clId="{A6768F3B-235C-4BDF-A79E-8DF5A2847A93}" dt="2021-06-17T20:13:50.204" v="3411" actId="2696"/>
        <pc:sldMkLst>
          <pc:docMk/>
          <pc:sldMk cId="3771384702" sldId="2076137279"/>
        </pc:sldMkLst>
      </pc:sldChg>
      <pc:sldChg chg="del">
        <pc:chgData name="Erick Moore" userId="96a732b2-26bb-45da-b8ee-37851dfdb22e" providerId="ADAL" clId="{A6768F3B-235C-4BDF-A79E-8DF5A2847A93}" dt="2021-06-17T20:13:50.204" v="3411" actId="2696"/>
        <pc:sldMkLst>
          <pc:docMk/>
          <pc:sldMk cId="357851800" sldId="2076137796"/>
        </pc:sldMkLst>
      </pc:sldChg>
      <pc:sldChg chg="del">
        <pc:chgData name="Erick Moore" userId="96a732b2-26bb-45da-b8ee-37851dfdb22e" providerId="ADAL" clId="{A6768F3B-235C-4BDF-A79E-8DF5A2847A93}" dt="2021-06-17T20:13:50.204" v="3411" actId="2696"/>
        <pc:sldMkLst>
          <pc:docMk/>
          <pc:sldMk cId="2523707343" sldId="2076137798"/>
        </pc:sldMkLst>
      </pc:sldChg>
      <pc:sldChg chg="del">
        <pc:chgData name="Erick Moore" userId="96a732b2-26bb-45da-b8ee-37851dfdb22e" providerId="ADAL" clId="{A6768F3B-235C-4BDF-A79E-8DF5A2847A93}" dt="2021-06-17T20:13:50.204" v="3411" actId="2696"/>
        <pc:sldMkLst>
          <pc:docMk/>
          <pc:sldMk cId="1294961885" sldId="2076137820"/>
        </pc:sldMkLst>
      </pc:sldChg>
      <pc:sldChg chg="del">
        <pc:chgData name="Erick Moore" userId="96a732b2-26bb-45da-b8ee-37851dfdb22e" providerId="ADAL" clId="{A6768F3B-235C-4BDF-A79E-8DF5A2847A93}" dt="2021-06-17T20:13:50.204" v="3411" actId="2696"/>
        <pc:sldMkLst>
          <pc:docMk/>
          <pc:sldMk cId="3891510532" sldId="2076137855"/>
        </pc:sldMkLst>
      </pc:sldChg>
      <pc:sldChg chg="del">
        <pc:chgData name="Erick Moore" userId="96a732b2-26bb-45da-b8ee-37851dfdb22e" providerId="ADAL" clId="{A6768F3B-235C-4BDF-A79E-8DF5A2847A93}" dt="2021-06-17T20:13:50.204" v="3411" actId="2696"/>
        <pc:sldMkLst>
          <pc:docMk/>
          <pc:sldMk cId="2283596107" sldId="2076137856"/>
        </pc:sldMkLst>
      </pc:sldChg>
      <pc:sldChg chg="del">
        <pc:chgData name="Erick Moore" userId="96a732b2-26bb-45da-b8ee-37851dfdb22e" providerId="ADAL" clId="{A6768F3B-235C-4BDF-A79E-8DF5A2847A93}" dt="2021-06-17T20:13:50.204" v="3411" actId="2696"/>
        <pc:sldMkLst>
          <pc:docMk/>
          <pc:sldMk cId="2759269462" sldId="2076137857"/>
        </pc:sldMkLst>
      </pc:sldChg>
      <pc:sldChg chg="del">
        <pc:chgData name="Erick Moore" userId="96a732b2-26bb-45da-b8ee-37851dfdb22e" providerId="ADAL" clId="{A6768F3B-235C-4BDF-A79E-8DF5A2847A93}" dt="2021-06-17T20:13:50.204" v="3411" actId="2696"/>
        <pc:sldMkLst>
          <pc:docMk/>
          <pc:sldMk cId="1711152873" sldId="2076137858"/>
        </pc:sldMkLst>
      </pc:sldChg>
      <pc:sldChg chg="del">
        <pc:chgData name="Erick Moore" userId="96a732b2-26bb-45da-b8ee-37851dfdb22e" providerId="ADAL" clId="{A6768F3B-235C-4BDF-A79E-8DF5A2847A93}" dt="2021-06-17T20:13:50.204" v="3411" actId="2696"/>
        <pc:sldMkLst>
          <pc:docMk/>
          <pc:sldMk cId="597285247" sldId="2076137974"/>
        </pc:sldMkLst>
      </pc:sldChg>
      <pc:sldChg chg="modSp mod">
        <pc:chgData name="Erick Moore" userId="96a732b2-26bb-45da-b8ee-37851dfdb22e" providerId="ADAL" clId="{A6768F3B-235C-4BDF-A79E-8DF5A2847A93}" dt="2021-06-24T13:22:02.066" v="11469" actId="122"/>
        <pc:sldMkLst>
          <pc:docMk/>
          <pc:sldMk cId="2663504162" sldId="2134804996"/>
        </pc:sldMkLst>
        <pc:spChg chg="mod">
          <ac:chgData name="Erick Moore" userId="96a732b2-26bb-45da-b8ee-37851dfdb22e" providerId="ADAL" clId="{A6768F3B-235C-4BDF-A79E-8DF5A2847A93}" dt="2021-06-24T13:22:02.066" v="11469" actId="122"/>
          <ac:spMkLst>
            <pc:docMk/>
            <pc:sldMk cId="2663504162" sldId="2134804996"/>
            <ac:spMk id="29" creationId="{D693649C-8682-4A82-9350-B16B76D56128}"/>
          </ac:spMkLst>
        </pc:spChg>
      </pc:sldChg>
      <pc:sldChg chg="modSp mod">
        <pc:chgData name="Erick Moore" userId="96a732b2-26bb-45da-b8ee-37851dfdb22e" providerId="ADAL" clId="{A6768F3B-235C-4BDF-A79E-8DF5A2847A93}" dt="2021-06-17T20:14:37.826" v="3451" actId="20577"/>
        <pc:sldMkLst>
          <pc:docMk/>
          <pc:sldMk cId="3453069231" sldId="2134804999"/>
        </pc:sldMkLst>
        <pc:spChg chg="mod">
          <ac:chgData name="Erick Moore" userId="96a732b2-26bb-45da-b8ee-37851dfdb22e" providerId="ADAL" clId="{A6768F3B-235C-4BDF-A79E-8DF5A2847A93}" dt="2021-06-17T20:14:37.826" v="3451" actId="20577"/>
          <ac:spMkLst>
            <pc:docMk/>
            <pc:sldMk cId="3453069231" sldId="2134804999"/>
            <ac:spMk id="4" creationId="{00000000-0000-0000-0000-000000000000}"/>
          </ac:spMkLst>
        </pc:spChg>
      </pc:sldChg>
      <pc:sldChg chg="del">
        <pc:chgData name="Erick Moore" userId="96a732b2-26bb-45da-b8ee-37851dfdb22e" providerId="ADAL" clId="{A6768F3B-235C-4BDF-A79E-8DF5A2847A93}" dt="2021-06-17T20:13:50.204" v="3411" actId="2696"/>
        <pc:sldMkLst>
          <pc:docMk/>
          <pc:sldMk cId="548392725" sldId="2134805002"/>
        </pc:sldMkLst>
      </pc:sldChg>
      <pc:sldChg chg="del">
        <pc:chgData name="Erick Moore" userId="96a732b2-26bb-45da-b8ee-37851dfdb22e" providerId="ADAL" clId="{A6768F3B-235C-4BDF-A79E-8DF5A2847A93}" dt="2021-06-17T20:13:50.204" v="3411" actId="2696"/>
        <pc:sldMkLst>
          <pc:docMk/>
          <pc:sldMk cId="1124308813" sldId="2134805007"/>
        </pc:sldMkLst>
      </pc:sldChg>
      <pc:sldChg chg="del">
        <pc:chgData name="Erick Moore" userId="96a732b2-26bb-45da-b8ee-37851dfdb22e" providerId="ADAL" clId="{A6768F3B-235C-4BDF-A79E-8DF5A2847A93}" dt="2021-06-17T20:13:50.204" v="3411" actId="2696"/>
        <pc:sldMkLst>
          <pc:docMk/>
          <pc:sldMk cId="565927153" sldId="2145705690"/>
        </pc:sldMkLst>
      </pc:sldChg>
      <pc:sldChg chg="del">
        <pc:chgData name="Erick Moore" userId="96a732b2-26bb-45da-b8ee-37851dfdb22e" providerId="ADAL" clId="{A6768F3B-235C-4BDF-A79E-8DF5A2847A93}" dt="2021-06-17T20:13:50.204" v="3411" actId="2696"/>
        <pc:sldMkLst>
          <pc:docMk/>
          <pc:sldMk cId="2473577347" sldId="2145705691"/>
        </pc:sldMkLst>
      </pc:sldChg>
      <pc:sldChg chg="del">
        <pc:chgData name="Erick Moore" userId="96a732b2-26bb-45da-b8ee-37851dfdb22e" providerId="ADAL" clId="{A6768F3B-235C-4BDF-A79E-8DF5A2847A93}" dt="2021-06-17T20:13:50.204" v="3411" actId="2696"/>
        <pc:sldMkLst>
          <pc:docMk/>
          <pc:sldMk cId="3213934093" sldId="2145705692"/>
        </pc:sldMkLst>
      </pc:sldChg>
      <pc:sldChg chg="del">
        <pc:chgData name="Erick Moore" userId="96a732b2-26bb-45da-b8ee-37851dfdb22e" providerId="ADAL" clId="{A6768F3B-235C-4BDF-A79E-8DF5A2847A93}" dt="2021-06-17T20:13:50.204" v="3411" actId="2696"/>
        <pc:sldMkLst>
          <pc:docMk/>
          <pc:sldMk cId="3306387410" sldId="2145705693"/>
        </pc:sldMkLst>
      </pc:sldChg>
      <pc:sldChg chg="del">
        <pc:chgData name="Erick Moore" userId="96a732b2-26bb-45da-b8ee-37851dfdb22e" providerId="ADAL" clId="{A6768F3B-235C-4BDF-A79E-8DF5A2847A93}" dt="2021-06-17T20:13:50.204" v="3411" actId="2696"/>
        <pc:sldMkLst>
          <pc:docMk/>
          <pc:sldMk cId="2104751811" sldId="2145705883"/>
        </pc:sldMkLst>
      </pc:sldChg>
      <pc:sldChg chg="del">
        <pc:chgData name="Erick Moore" userId="96a732b2-26bb-45da-b8ee-37851dfdb22e" providerId="ADAL" clId="{A6768F3B-235C-4BDF-A79E-8DF5A2847A93}" dt="2021-06-17T20:13:50.204" v="3411" actId="2696"/>
        <pc:sldMkLst>
          <pc:docMk/>
          <pc:sldMk cId="75027680" sldId="2145705884"/>
        </pc:sldMkLst>
      </pc:sldChg>
      <pc:sldChg chg="del">
        <pc:chgData name="Erick Moore" userId="96a732b2-26bb-45da-b8ee-37851dfdb22e" providerId="ADAL" clId="{A6768F3B-235C-4BDF-A79E-8DF5A2847A93}" dt="2021-06-17T20:13:50.204" v="3411" actId="2696"/>
        <pc:sldMkLst>
          <pc:docMk/>
          <pc:sldMk cId="3444486878" sldId="2145705886"/>
        </pc:sldMkLst>
      </pc:sldChg>
      <pc:sldChg chg="del">
        <pc:chgData name="Erick Moore" userId="96a732b2-26bb-45da-b8ee-37851dfdb22e" providerId="ADAL" clId="{A6768F3B-235C-4BDF-A79E-8DF5A2847A93}" dt="2021-06-17T20:13:50.204" v="3411" actId="2696"/>
        <pc:sldMkLst>
          <pc:docMk/>
          <pc:sldMk cId="2486658822" sldId="2145705890"/>
        </pc:sldMkLst>
      </pc:sldChg>
      <pc:sldChg chg="del">
        <pc:chgData name="Erick Moore" userId="96a732b2-26bb-45da-b8ee-37851dfdb22e" providerId="ADAL" clId="{A6768F3B-235C-4BDF-A79E-8DF5A2847A93}" dt="2021-06-17T20:13:50.204" v="3411" actId="2696"/>
        <pc:sldMkLst>
          <pc:docMk/>
          <pc:sldMk cId="2941069569" sldId="2145705891"/>
        </pc:sldMkLst>
      </pc:sldChg>
      <pc:sldChg chg="del">
        <pc:chgData name="Erick Moore" userId="96a732b2-26bb-45da-b8ee-37851dfdb22e" providerId="ADAL" clId="{A6768F3B-235C-4BDF-A79E-8DF5A2847A93}" dt="2021-06-17T20:13:50.204" v="3411" actId="2696"/>
        <pc:sldMkLst>
          <pc:docMk/>
          <pc:sldMk cId="1739379278" sldId="2145705892"/>
        </pc:sldMkLst>
      </pc:sldChg>
      <pc:sldChg chg="del">
        <pc:chgData name="Erick Moore" userId="96a732b2-26bb-45da-b8ee-37851dfdb22e" providerId="ADAL" clId="{A6768F3B-235C-4BDF-A79E-8DF5A2847A93}" dt="2021-06-17T20:13:50.204" v="3411" actId="2696"/>
        <pc:sldMkLst>
          <pc:docMk/>
          <pc:sldMk cId="3381289114" sldId="2145705893"/>
        </pc:sldMkLst>
      </pc:sldChg>
      <pc:sldChg chg="del">
        <pc:chgData name="Erick Moore" userId="96a732b2-26bb-45da-b8ee-37851dfdb22e" providerId="ADAL" clId="{A6768F3B-235C-4BDF-A79E-8DF5A2847A93}" dt="2021-06-17T20:13:50.204" v="3411" actId="2696"/>
        <pc:sldMkLst>
          <pc:docMk/>
          <pc:sldMk cId="2621249283" sldId="2145705894"/>
        </pc:sldMkLst>
      </pc:sldChg>
      <pc:sldChg chg="del">
        <pc:chgData name="Erick Moore" userId="96a732b2-26bb-45da-b8ee-37851dfdb22e" providerId="ADAL" clId="{A6768F3B-235C-4BDF-A79E-8DF5A2847A93}" dt="2021-06-17T20:13:50.204" v="3411" actId="2696"/>
        <pc:sldMkLst>
          <pc:docMk/>
          <pc:sldMk cId="2235417153" sldId="2145705896"/>
        </pc:sldMkLst>
      </pc:sldChg>
      <pc:sldChg chg="del">
        <pc:chgData name="Erick Moore" userId="96a732b2-26bb-45da-b8ee-37851dfdb22e" providerId="ADAL" clId="{A6768F3B-235C-4BDF-A79E-8DF5A2847A93}" dt="2021-06-17T20:13:50.204" v="3411" actId="2696"/>
        <pc:sldMkLst>
          <pc:docMk/>
          <pc:sldMk cId="3297062177" sldId="2145705897"/>
        </pc:sldMkLst>
      </pc:sldChg>
      <pc:sldChg chg="del">
        <pc:chgData name="Erick Moore" userId="96a732b2-26bb-45da-b8ee-37851dfdb22e" providerId="ADAL" clId="{A6768F3B-235C-4BDF-A79E-8DF5A2847A93}" dt="2021-06-17T20:13:50.204" v="3411" actId="2696"/>
        <pc:sldMkLst>
          <pc:docMk/>
          <pc:sldMk cId="1694342936" sldId="2145705902"/>
        </pc:sldMkLst>
      </pc:sldChg>
      <pc:sldChg chg="del">
        <pc:chgData name="Erick Moore" userId="96a732b2-26bb-45da-b8ee-37851dfdb22e" providerId="ADAL" clId="{A6768F3B-235C-4BDF-A79E-8DF5A2847A93}" dt="2021-06-17T20:13:50.204" v="3411" actId="2696"/>
        <pc:sldMkLst>
          <pc:docMk/>
          <pc:sldMk cId="2529220896" sldId="2145705903"/>
        </pc:sldMkLst>
      </pc:sldChg>
      <pc:sldChg chg="del">
        <pc:chgData name="Erick Moore" userId="96a732b2-26bb-45da-b8ee-37851dfdb22e" providerId="ADAL" clId="{A6768F3B-235C-4BDF-A79E-8DF5A2847A93}" dt="2021-06-17T20:13:50.204" v="3411" actId="2696"/>
        <pc:sldMkLst>
          <pc:docMk/>
          <pc:sldMk cId="2210126824" sldId="2145705904"/>
        </pc:sldMkLst>
      </pc:sldChg>
      <pc:sldChg chg="del">
        <pc:chgData name="Erick Moore" userId="96a732b2-26bb-45da-b8ee-37851dfdb22e" providerId="ADAL" clId="{A6768F3B-235C-4BDF-A79E-8DF5A2847A93}" dt="2021-06-17T20:13:50.204" v="3411" actId="2696"/>
        <pc:sldMkLst>
          <pc:docMk/>
          <pc:sldMk cId="1094737073" sldId="2145705905"/>
        </pc:sldMkLst>
      </pc:sldChg>
      <pc:sldChg chg="del">
        <pc:chgData name="Erick Moore" userId="96a732b2-26bb-45da-b8ee-37851dfdb22e" providerId="ADAL" clId="{A6768F3B-235C-4BDF-A79E-8DF5A2847A93}" dt="2021-06-17T20:13:50.204" v="3411" actId="2696"/>
        <pc:sldMkLst>
          <pc:docMk/>
          <pc:sldMk cId="2045838271" sldId="2145705906"/>
        </pc:sldMkLst>
      </pc:sldChg>
      <pc:sldChg chg="del">
        <pc:chgData name="Erick Moore" userId="96a732b2-26bb-45da-b8ee-37851dfdb22e" providerId="ADAL" clId="{A6768F3B-235C-4BDF-A79E-8DF5A2847A93}" dt="2021-06-17T20:13:50.204" v="3411" actId="2696"/>
        <pc:sldMkLst>
          <pc:docMk/>
          <pc:sldMk cId="2903731219" sldId="2145705907"/>
        </pc:sldMkLst>
      </pc:sldChg>
      <pc:sldChg chg="modNotesTx">
        <pc:chgData name="Erick Moore" userId="96a732b2-26bb-45da-b8ee-37851dfdb22e" providerId="ADAL" clId="{A6768F3B-235C-4BDF-A79E-8DF5A2847A93}" dt="2021-06-22T12:19:32.605" v="9336" actId="20577"/>
        <pc:sldMkLst>
          <pc:docMk/>
          <pc:sldMk cId="4189880712" sldId="2145705908"/>
        </pc:sldMkLst>
      </pc:sldChg>
      <pc:sldChg chg="del">
        <pc:chgData name="Erick Moore" userId="96a732b2-26bb-45da-b8ee-37851dfdb22e" providerId="ADAL" clId="{A6768F3B-235C-4BDF-A79E-8DF5A2847A93}" dt="2021-06-17T20:13:50.204" v="3411" actId="2696"/>
        <pc:sldMkLst>
          <pc:docMk/>
          <pc:sldMk cId="3387737734" sldId="2145705909"/>
        </pc:sldMkLst>
      </pc:sldChg>
      <pc:sldChg chg="del">
        <pc:chgData name="Erick Moore" userId="96a732b2-26bb-45da-b8ee-37851dfdb22e" providerId="ADAL" clId="{A6768F3B-235C-4BDF-A79E-8DF5A2847A93}" dt="2021-06-17T20:13:50.204" v="3411" actId="2696"/>
        <pc:sldMkLst>
          <pc:docMk/>
          <pc:sldMk cId="634822621" sldId="2145705910"/>
        </pc:sldMkLst>
      </pc:sldChg>
      <pc:sldChg chg="del">
        <pc:chgData name="Erick Moore" userId="96a732b2-26bb-45da-b8ee-37851dfdb22e" providerId="ADAL" clId="{A6768F3B-235C-4BDF-A79E-8DF5A2847A93}" dt="2021-06-17T20:13:50.204" v="3411" actId="2696"/>
        <pc:sldMkLst>
          <pc:docMk/>
          <pc:sldMk cId="1938692642" sldId="2145705911"/>
        </pc:sldMkLst>
      </pc:sldChg>
      <pc:sldChg chg="del">
        <pc:chgData name="Erick Moore" userId="96a732b2-26bb-45da-b8ee-37851dfdb22e" providerId="ADAL" clId="{A6768F3B-235C-4BDF-A79E-8DF5A2847A93}" dt="2021-06-17T20:13:50.204" v="3411" actId="2696"/>
        <pc:sldMkLst>
          <pc:docMk/>
          <pc:sldMk cId="3186430464" sldId="2145705912"/>
        </pc:sldMkLst>
      </pc:sldChg>
      <pc:sldChg chg="del">
        <pc:chgData name="Erick Moore" userId="96a732b2-26bb-45da-b8ee-37851dfdb22e" providerId="ADAL" clId="{A6768F3B-235C-4BDF-A79E-8DF5A2847A93}" dt="2021-06-17T20:14:05.183" v="3412" actId="2696"/>
        <pc:sldMkLst>
          <pc:docMk/>
          <pc:sldMk cId="3347252873" sldId="2145705913"/>
        </pc:sldMkLst>
      </pc:sldChg>
      <pc:sldChg chg="del">
        <pc:chgData name="Erick Moore" userId="96a732b2-26bb-45da-b8ee-37851dfdb22e" providerId="ADAL" clId="{A6768F3B-235C-4BDF-A79E-8DF5A2847A93}" dt="2021-06-17T20:14:05.183" v="3412" actId="2696"/>
        <pc:sldMkLst>
          <pc:docMk/>
          <pc:sldMk cId="1429923840" sldId="2145705914"/>
        </pc:sldMkLst>
      </pc:sldChg>
      <pc:sldChg chg="modSp mod modNotesTx">
        <pc:chgData name="Erick Moore" userId="96a732b2-26bb-45da-b8ee-37851dfdb22e" providerId="ADAL" clId="{A6768F3B-235C-4BDF-A79E-8DF5A2847A93}" dt="2021-06-24T14:36:15.100" v="14232" actId="1076"/>
        <pc:sldMkLst>
          <pc:docMk/>
          <pc:sldMk cId="3675353970" sldId="2145705915"/>
        </pc:sldMkLst>
        <pc:spChg chg="mod">
          <ac:chgData name="Erick Moore" userId="96a732b2-26bb-45da-b8ee-37851dfdb22e" providerId="ADAL" clId="{A6768F3B-235C-4BDF-A79E-8DF5A2847A93}" dt="2021-06-24T14:36:15.100" v="14232" actId="1076"/>
          <ac:spMkLst>
            <pc:docMk/>
            <pc:sldMk cId="3675353970" sldId="2145705915"/>
            <ac:spMk id="42" creationId="{1D67ACEB-DBC4-4D01-9DF9-D5BDAF5B1629}"/>
          </ac:spMkLst>
        </pc:spChg>
      </pc:sldChg>
      <pc:sldChg chg="modSp mod modNotesTx">
        <pc:chgData name="Erick Moore" userId="96a732b2-26bb-45da-b8ee-37851dfdb22e" providerId="ADAL" clId="{A6768F3B-235C-4BDF-A79E-8DF5A2847A93}" dt="2021-06-24T13:24:16.892" v="11593" actId="20577"/>
        <pc:sldMkLst>
          <pc:docMk/>
          <pc:sldMk cId="2243280449" sldId="2145705916"/>
        </pc:sldMkLst>
        <pc:spChg chg="mod">
          <ac:chgData name="Erick Moore" userId="96a732b2-26bb-45da-b8ee-37851dfdb22e" providerId="ADAL" clId="{A6768F3B-235C-4BDF-A79E-8DF5A2847A93}" dt="2021-06-24T13:21:51.902" v="11466" actId="122"/>
          <ac:spMkLst>
            <pc:docMk/>
            <pc:sldMk cId="2243280449" sldId="2145705916"/>
            <ac:spMk id="29" creationId="{D693649C-8682-4A82-9350-B16B76D56128}"/>
          </ac:spMkLst>
        </pc:spChg>
      </pc:sldChg>
      <pc:sldChg chg="del">
        <pc:chgData name="Erick Moore" userId="96a732b2-26bb-45da-b8ee-37851dfdb22e" providerId="ADAL" clId="{A6768F3B-235C-4BDF-A79E-8DF5A2847A93}" dt="2021-06-17T20:14:14.515" v="3413" actId="2696"/>
        <pc:sldMkLst>
          <pc:docMk/>
          <pc:sldMk cId="3096527061" sldId="2145705917"/>
        </pc:sldMkLst>
      </pc:sldChg>
      <pc:sldChg chg="del">
        <pc:chgData name="Erick Moore" userId="96a732b2-26bb-45da-b8ee-37851dfdb22e" providerId="ADAL" clId="{A6768F3B-235C-4BDF-A79E-8DF5A2847A93}" dt="2021-06-17T20:14:14.515" v="3413" actId="2696"/>
        <pc:sldMkLst>
          <pc:docMk/>
          <pc:sldMk cId="3244166663" sldId="2145705918"/>
        </pc:sldMkLst>
      </pc:sldChg>
      <pc:sldChg chg="del">
        <pc:chgData name="Erick Moore" userId="96a732b2-26bb-45da-b8ee-37851dfdb22e" providerId="ADAL" clId="{A6768F3B-235C-4BDF-A79E-8DF5A2847A93}" dt="2021-06-17T20:14:14.515" v="3413" actId="2696"/>
        <pc:sldMkLst>
          <pc:docMk/>
          <pc:sldMk cId="3795522555" sldId="2145705919"/>
        </pc:sldMkLst>
      </pc:sldChg>
      <pc:sldChg chg="del">
        <pc:chgData name="Erick Moore" userId="96a732b2-26bb-45da-b8ee-37851dfdb22e" providerId="ADAL" clId="{A6768F3B-235C-4BDF-A79E-8DF5A2847A93}" dt="2021-06-17T20:14:05.183" v="3412" actId="2696"/>
        <pc:sldMkLst>
          <pc:docMk/>
          <pc:sldMk cId="1331597904" sldId="2145705920"/>
        </pc:sldMkLst>
      </pc:sldChg>
      <pc:sldChg chg="del">
        <pc:chgData name="Erick Moore" userId="96a732b2-26bb-45da-b8ee-37851dfdb22e" providerId="ADAL" clId="{A6768F3B-235C-4BDF-A79E-8DF5A2847A93}" dt="2021-06-17T20:14:14.515" v="3413" actId="2696"/>
        <pc:sldMkLst>
          <pc:docMk/>
          <pc:sldMk cId="3619302160" sldId="2145705921"/>
        </pc:sldMkLst>
      </pc:sldChg>
      <pc:sldChg chg="del">
        <pc:chgData name="Erick Moore" userId="96a732b2-26bb-45da-b8ee-37851dfdb22e" providerId="ADAL" clId="{A6768F3B-235C-4BDF-A79E-8DF5A2847A93}" dt="2021-06-17T20:14:14.515" v="3413" actId="2696"/>
        <pc:sldMkLst>
          <pc:docMk/>
          <pc:sldMk cId="155032226" sldId="2145705922"/>
        </pc:sldMkLst>
      </pc:sldChg>
      <pc:sldChg chg="del">
        <pc:chgData name="Erick Moore" userId="96a732b2-26bb-45da-b8ee-37851dfdb22e" providerId="ADAL" clId="{A6768F3B-235C-4BDF-A79E-8DF5A2847A93}" dt="2021-06-17T20:14:14.515" v="3413" actId="2696"/>
        <pc:sldMkLst>
          <pc:docMk/>
          <pc:sldMk cId="1214038552" sldId="2145705923"/>
        </pc:sldMkLst>
      </pc:sldChg>
      <pc:sldChg chg="del">
        <pc:chgData name="Erick Moore" userId="96a732b2-26bb-45da-b8ee-37851dfdb22e" providerId="ADAL" clId="{A6768F3B-235C-4BDF-A79E-8DF5A2847A93}" dt="2021-06-17T20:14:14.515" v="3413" actId="2696"/>
        <pc:sldMkLst>
          <pc:docMk/>
          <pc:sldMk cId="3268584807" sldId="2145705924"/>
        </pc:sldMkLst>
      </pc:sldChg>
      <pc:sldChg chg="del">
        <pc:chgData name="Erick Moore" userId="96a732b2-26bb-45da-b8ee-37851dfdb22e" providerId="ADAL" clId="{A6768F3B-235C-4BDF-A79E-8DF5A2847A93}" dt="2021-06-17T20:14:14.515" v="3413" actId="2696"/>
        <pc:sldMkLst>
          <pc:docMk/>
          <pc:sldMk cId="3689267393" sldId="2145705925"/>
        </pc:sldMkLst>
      </pc:sldChg>
      <pc:sldChg chg="addSp delSp modSp add del mod addAnim delAnim">
        <pc:chgData name="Erick Moore" userId="96a732b2-26bb-45da-b8ee-37851dfdb22e" providerId="ADAL" clId="{A6768F3B-235C-4BDF-A79E-8DF5A2847A93}" dt="2021-06-18T12:43:59.316" v="5407" actId="2696"/>
        <pc:sldMkLst>
          <pc:docMk/>
          <pc:sldMk cId="3384639587" sldId="2145705926"/>
        </pc:sldMkLst>
        <pc:spChg chg="mod topLvl">
          <ac:chgData name="Erick Moore" userId="96a732b2-26bb-45da-b8ee-37851dfdb22e" providerId="ADAL" clId="{A6768F3B-235C-4BDF-A79E-8DF5A2847A93}" dt="2021-06-17T12:23:51.035" v="93" actId="122"/>
          <ac:spMkLst>
            <pc:docMk/>
            <pc:sldMk cId="3384639587" sldId="2145705926"/>
            <ac:spMk id="9" creationId="{00A25516-C720-477E-A64A-BC1D5226922F}"/>
          </ac:spMkLst>
        </pc:spChg>
        <pc:spChg chg="mod">
          <ac:chgData name="Erick Moore" userId="96a732b2-26bb-45da-b8ee-37851dfdb22e" providerId="ADAL" clId="{A6768F3B-235C-4BDF-A79E-8DF5A2847A93}" dt="2021-06-17T12:26:00.476" v="163" actId="1076"/>
          <ac:spMkLst>
            <pc:docMk/>
            <pc:sldMk cId="3384639587" sldId="2145705926"/>
            <ac:spMk id="87" creationId="{D9592069-73ED-4981-B7EA-6C361662131C}"/>
          </ac:spMkLst>
        </pc:spChg>
        <pc:spChg chg="mod ord topLvl">
          <ac:chgData name="Erick Moore" userId="96a732b2-26bb-45da-b8ee-37851dfdb22e" providerId="ADAL" clId="{A6768F3B-235C-4BDF-A79E-8DF5A2847A93}" dt="2021-06-17T12:27:48.561" v="224" actId="166"/>
          <ac:spMkLst>
            <pc:docMk/>
            <pc:sldMk cId="3384639587" sldId="2145705926"/>
            <ac:spMk id="104" creationId="{3A8F2C6B-D750-451C-90DC-7CE67223A718}"/>
          </ac:spMkLst>
        </pc:spChg>
        <pc:spChg chg="mod">
          <ac:chgData name="Erick Moore" userId="96a732b2-26bb-45da-b8ee-37851dfdb22e" providerId="ADAL" clId="{A6768F3B-235C-4BDF-A79E-8DF5A2847A93}" dt="2021-06-17T12:24:19.985" v="121" actId="20577"/>
          <ac:spMkLst>
            <pc:docMk/>
            <pc:sldMk cId="3384639587" sldId="2145705926"/>
            <ac:spMk id="140" creationId="{3938EB7E-81E6-4C45-BE60-A928605D2F09}"/>
          </ac:spMkLst>
        </pc:spChg>
        <pc:spChg chg="del mod topLvl">
          <ac:chgData name="Erick Moore" userId="96a732b2-26bb-45da-b8ee-37851dfdb22e" providerId="ADAL" clId="{A6768F3B-235C-4BDF-A79E-8DF5A2847A93}" dt="2021-06-17T12:26:31.540" v="169" actId="478"/>
          <ac:spMkLst>
            <pc:docMk/>
            <pc:sldMk cId="3384639587" sldId="2145705926"/>
            <ac:spMk id="197" creationId="{835E4CC9-F3DF-4DD1-AF96-3ED92FA996AD}"/>
          </ac:spMkLst>
        </pc:spChg>
        <pc:spChg chg="del mod topLvl">
          <ac:chgData name="Erick Moore" userId="96a732b2-26bb-45da-b8ee-37851dfdb22e" providerId="ADAL" clId="{A6768F3B-235C-4BDF-A79E-8DF5A2847A93}" dt="2021-06-17T12:26:30.344" v="168" actId="478"/>
          <ac:spMkLst>
            <pc:docMk/>
            <pc:sldMk cId="3384639587" sldId="2145705926"/>
            <ac:spMk id="198" creationId="{5849DD7F-69B3-4913-859C-0FC6F8EBB443}"/>
          </ac:spMkLst>
        </pc:spChg>
        <pc:spChg chg="del mod topLvl">
          <ac:chgData name="Erick Moore" userId="96a732b2-26bb-45da-b8ee-37851dfdb22e" providerId="ADAL" clId="{A6768F3B-235C-4BDF-A79E-8DF5A2847A93}" dt="2021-06-17T12:24:45.200" v="128" actId="478"/>
          <ac:spMkLst>
            <pc:docMk/>
            <pc:sldMk cId="3384639587" sldId="2145705926"/>
            <ac:spMk id="199" creationId="{0F5A9E4F-6331-45EE-8D1B-E01F1748FEFA}"/>
          </ac:spMkLst>
        </pc:spChg>
        <pc:spChg chg="del mod topLvl">
          <ac:chgData name="Erick Moore" userId="96a732b2-26bb-45da-b8ee-37851dfdb22e" providerId="ADAL" clId="{A6768F3B-235C-4BDF-A79E-8DF5A2847A93}" dt="2021-06-17T12:24:44.543" v="127" actId="478"/>
          <ac:spMkLst>
            <pc:docMk/>
            <pc:sldMk cId="3384639587" sldId="2145705926"/>
            <ac:spMk id="200" creationId="{E21511F2-7BD1-4C0F-8195-5F7F79322D64}"/>
          </ac:spMkLst>
        </pc:spChg>
        <pc:spChg chg="del mod topLvl">
          <ac:chgData name="Erick Moore" userId="96a732b2-26bb-45da-b8ee-37851dfdb22e" providerId="ADAL" clId="{A6768F3B-235C-4BDF-A79E-8DF5A2847A93}" dt="2021-06-17T12:24:43.921" v="126" actId="478"/>
          <ac:spMkLst>
            <pc:docMk/>
            <pc:sldMk cId="3384639587" sldId="2145705926"/>
            <ac:spMk id="203" creationId="{6FA92719-00D4-4BE8-8685-120797FAD544}"/>
          </ac:spMkLst>
        </pc:spChg>
        <pc:spChg chg="mod">
          <ac:chgData name="Erick Moore" userId="96a732b2-26bb-45da-b8ee-37851dfdb22e" providerId="ADAL" clId="{A6768F3B-235C-4BDF-A79E-8DF5A2847A93}" dt="2021-06-17T12:24:38.135" v="124" actId="165"/>
          <ac:spMkLst>
            <pc:docMk/>
            <pc:sldMk cId="3384639587" sldId="2145705926"/>
            <ac:spMk id="205" creationId="{E61B2A24-6D85-4B49-B194-0C8DCC596107}"/>
          </ac:spMkLst>
        </pc:spChg>
        <pc:spChg chg="mod">
          <ac:chgData name="Erick Moore" userId="96a732b2-26bb-45da-b8ee-37851dfdb22e" providerId="ADAL" clId="{A6768F3B-235C-4BDF-A79E-8DF5A2847A93}" dt="2021-06-17T12:25:00.206" v="142" actId="20577"/>
          <ac:spMkLst>
            <pc:docMk/>
            <pc:sldMk cId="3384639587" sldId="2145705926"/>
            <ac:spMk id="208" creationId="{C9F556E9-EE3A-4308-B5C7-9769BF8B11C1}"/>
          </ac:spMkLst>
        </pc:spChg>
        <pc:spChg chg="mod">
          <ac:chgData name="Erick Moore" userId="96a732b2-26bb-45da-b8ee-37851dfdb22e" providerId="ADAL" clId="{A6768F3B-235C-4BDF-A79E-8DF5A2847A93}" dt="2021-06-17T12:25:06.866" v="151" actId="20577"/>
          <ac:spMkLst>
            <pc:docMk/>
            <pc:sldMk cId="3384639587" sldId="2145705926"/>
            <ac:spMk id="211" creationId="{922F26C7-1BDD-4DCA-894F-88AF8F3DD9FB}"/>
          </ac:spMkLst>
        </pc:spChg>
        <pc:spChg chg="add mod">
          <ac:chgData name="Erick Moore" userId="96a732b2-26bb-45da-b8ee-37851dfdb22e" providerId="ADAL" clId="{A6768F3B-235C-4BDF-A79E-8DF5A2847A93}" dt="2021-06-17T12:27:17.948" v="219" actId="1076"/>
          <ac:spMkLst>
            <pc:docMk/>
            <pc:sldMk cId="3384639587" sldId="2145705926"/>
            <ac:spMk id="213" creationId="{DBCEE3A5-FF1C-4A4B-AD38-052DC33247AC}"/>
          </ac:spMkLst>
        </pc:spChg>
        <pc:spChg chg="add mod ord">
          <ac:chgData name="Erick Moore" userId="96a732b2-26bb-45da-b8ee-37851dfdb22e" providerId="ADAL" clId="{A6768F3B-235C-4BDF-A79E-8DF5A2847A93}" dt="2021-06-17T12:27:55.759" v="225" actId="170"/>
          <ac:spMkLst>
            <pc:docMk/>
            <pc:sldMk cId="3384639587" sldId="2145705926"/>
            <ac:spMk id="214" creationId="{0171AA2A-92F3-4346-98E2-B0B98308661F}"/>
          </ac:spMkLst>
        </pc:spChg>
        <pc:spChg chg="add mod">
          <ac:chgData name="Erick Moore" userId="96a732b2-26bb-45da-b8ee-37851dfdb22e" providerId="ADAL" clId="{A6768F3B-235C-4BDF-A79E-8DF5A2847A93}" dt="2021-06-17T12:27:43.437" v="223" actId="1076"/>
          <ac:spMkLst>
            <pc:docMk/>
            <pc:sldMk cId="3384639587" sldId="2145705926"/>
            <ac:spMk id="215" creationId="{263C2DAB-D711-4150-892C-4E1DC9559782}"/>
          </ac:spMkLst>
        </pc:spChg>
        <pc:spChg chg="mod">
          <ac:chgData name="Erick Moore" userId="96a732b2-26bb-45da-b8ee-37851dfdb22e" providerId="ADAL" clId="{A6768F3B-235C-4BDF-A79E-8DF5A2847A93}" dt="2021-06-17T12:25:35.752" v="157" actId="1076"/>
          <ac:spMkLst>
            <pc:docMk/>
            <pc:sldMk cId="3384639587" sldId="2145705926"/>
            <ac:spMk id="289" creationId="{F2A40960-61F2-4130-8772-2EA73AB9D15F}"/>
          </ac:spMkLst>
        </pc:spChg>
        <pc:spChg chg="mod">
          <ac:chgData name="Erick Moore" userId="96a732b2-26bb-45da-b8ee-37851dfdb22e" providerId="ADAL" clId="{A6768F3B-235C-4BDF-A79E-8DF5A2847A93}" dt="2021-06-17T12:25:49.020" v="159" actId="14100"/>
          <ac:spMkLst>
            <pc:docMk/>
            <pc:sldMk cId="3384639587" sldId="2145705926"/>
            <ac:spMk id="292" creationId="{16181EB9-0CD2-46B9-8AEE-2F32DD49E9AE}"/>
          </ac:spMkLst>
        </pc:spChg>
        <pc:grpChg chg="del">
          <ac:chgData name="Erick Moore" userId="96a732b2-26bb-45da-b8ee-37851dfdb22e" providerId="ADAL" clId="{A6768F3B-235C-4BDF-A79E-8DF5A2847A93}" dt="2021-06-17T12:24:46.466" v="129" actId="478"/>
          <ac:grpSpMkLst>
            <pc:docMk/>
            <pc:sldMk cId="3384639587" sldId="2145705926"/>
            <ac:grpSpMk id="30" creationId="{91DFCDC1-9900-42E8-A05F-6ADF3ED5F2D5}"/>
          </ac:grpSpMkLst>
        </pc:grpChg>
        <pc:grpChg chg="del">
          <ac:chgData name="Erick Moore" userId="96a732b2-26bb-45da-b8ee-37851dfdb22e" providerId="ADAL" clId="{A6768F3B-235C-4BDF-A79E-8DF5A2847A93}" dt="2021-06-17T12:26:33.135" v="170" actId="478"/>
          <ac:grpSpMkLst>
            <pc:docMk/>
            <pc:sldMk cId="3384639587" sldId="2145705926"/>
            <ac:grpSpMk id="45" creationId="{DE640A41-7410-4B18-A169-4A6D789CECB0}"/>
          </ac:grpSpMkLst>
        </pc:grpChg>
        <pc:grpChg chg="del">
          <ac:chgData name="Erick Moore" userId="96a732b2-26bb-45da-b8ee-37851dfdb22e" providerId="ADAL" clId="{A6768F3B-235C-4BDF-A79E-8DF5A2847A93}" dt="2021-06-17T12:26:24.231" v="166" actId="165"/>
          <ac:grpSpMkLst>
            <pc:docMk/>
            <pc:sldMk cId="3384639587" sldId="2145705926"/>
            <ac:grpSpMk id="46" creationId="{F81A38C1-5B6F-4086-B76A-9432FD2FFD76}"/>
          </ac:grpSpMkLst>
        </pc:grpChg>
        <pc:grpChg chg="mod">
          <ac:chgData name="Erick Moore" userId="96a732b2-26bb-45da-b8ee-37851dfdb22e" providerId="ADAL" clId="{A6768F3B-235C-4BDF-A79E-8DF5A2847A93}" dt="2021-06-17T12:25:29.556" v="156" actId="14100"/>
          <ac:grpSpMkLst>
            <pc:docMk/>
            <pc:sldMk cId="3384639587" sldId="2145705926"/>
            <ac:grpSpMk id="48" creationId="{7CCFCB6A-943C-4764-84E7-921C43550463}"/>
          </ac:grpSpMkLst>
        </pc:grpChg>
        <pc:grpChg chg="del mod">
          <ac:chgData name="Erick Moore" userId="96a732b2-26bb-45da-b8ee-37851dfdb22e" providerId="ADAL" clId="{A6768F3B-235C-4BDF-A79E-8DF5A2847A93}" dt="2021-06-17T12:23:37.830" v="90" actId="21"/>
          <ac:grpSpMkLst>
            <pc:docMk/>
            <pc:sldMk cId="3384639587" sldId="2145705926"/>
            <ac:grpSpMk id="51" creationId="{DA211D22-5DAA-4FC3-9469-49A3EC13B940}"/>
          </ac:grpSpMkLst>
        </pc:grpChg>
        <pc:grpChg chg="del">
          <ac:chgData name="Erick Moore" userId="96a732b2-26bb-45da-b8ee-37851dfdb22e" providerId="ADAL" clId="{A6768F3B-235C-4BDF-A79E-8DF5A2847A93}" dt="2021-06-17T12:23:09.893" v="85" actId="478"/>
          <ac:grpSpMkLst>
            <pc:docMk/>
            <pc:sldMk cId="3384639587" sldId="2145705926"/>
            <ac:grpSpMk id="76" creationId="{60A0B9A8-9C14-441C-9E03-C24B6F1C1DEF}"/>
          </ac:grpSpMkLst>
        </pc:grpChg>
        <pc:grpChg chg="del">
          <ac:chgData name="Erick Moore" userId="96a732b2-26bb-45da-b8ee-37851dfdb22e" providerId="ADAL" clId="{A6768F3B-235C-4BDF-A79E-8DF5A2847A93}" dt="2021-06-17T12:23:08.874" v="84" actId="478"/>
          <ac:grpSpMkLst>
            <pc:docMk/>
            <pc:sldMk cId="3384639587" sldId="2145705926"/>
            <ac:grpSpMk id="77" creationId="{4AFDFA53-A8E9-49C5-A4D5-FBEF8955A16D}"/>
          </ac:grpSpMkLst>
        </pc:grpChg>
        <pc:grpChg chg="del">
          <ac:chgData name="Erick Moore" userId="96a732b2-26bb-45da-b8ee-37851dfdb22e" providerId="ADAL" clId="{A6768F3B-235C-4BDF-A79E-8DF5A2847A93}" dt="2021-06-17T12:23:08.019" v="83" actId="478"/>
          <ac:grpSpMkLst>
            <pc:docMk/>
            <pc:sldMk cId="3384639587" sldId="2145705926"/>
            <ac:grpSpMk id="78" creationId="{543B4C7B-6EA0-4EBE-970E-86D16B9BF9F5}"/>
          </ac:grpSpMkLst>
        </pc:grpChg>
        <pc:grpChg chg="add del mod">
          <ac:chgData name="Erick Moore" userId="96a732b2-26bb-45da-b8ee-37851dfdb22e" providerId="ADAL" clId="{A6768F3B-235C-4BDF-A79E-8DF5A2847A93}" dt="2021-06-17T12:25:22.906" v="155" actId="478"/>
          <ac:grpSpMkLst>
            <pc:docMk/>
            <pc:sldMk cId="3384639587" sldId="2145705926"/>
            <ac:grpSpMk id="82" creationId="{BB8603EE-7384-46CC-BB0F-DF06B99B522D}"/>
          </ac:grpSpMkLst>
        </pc:grpChg>
        <pc:grpChg chg="del">
          <ac:chgData name="Erick Moore" userId="96a732b2-26bb-45da-b8ee-37851dfdb22e" providerId="ADAL" clId="{A6768F3B-235C-4BDF-A79E-8DF5A2847A93}" dt="2021-06-17T12:23:04.965" v="81" actId="478"/>
          <ac:grpSpMkLst>
            <pc:docMk/>
            <pc:sldMk cId="3384639587" sldId="2145705926"/>
            <ac:grpSpMk id="89" creationId="{4E420537-B20C-4363-B08E-A4C5EA9E313D}"/>
          </ac:grpSpMkLst>
        </pc:grpChg>
        <pc:grpChg chg="del">
          <ac:chgData name="Erick Moore" userId="96a732b2-26bb-45da-b8ee-37851dfdb22e" providerId="ADAL" clId="{A6768F3B-235C-4BDF-A79E-8DF5A2847A93}" dt="2021-06-17T12:23:07.106" v="82" actId="478"/>
          <ac:grpSpMkLst>
            <pc:docMk/>
            <pc:sldMk cId="3384639587" sldId="2145705926"/>
            <ac:grpSpMk id="91" creationId="{D2DF91FC-FC8A-4737-B478-789CE1DEE0E3}"/>
          </ac:grpSpMkLst>
        </pc:grpChg>
        <pc:grpChg chg="add del mod">
          <ac:chgData name="Erick Moore" userId="96a732b2-26bb-45da-b8ee-37851dfdb22e" providerId="ADAL" clId="{A6768F3B-235C-4BDF-A79E-8DF5A2847A93}" dt="2021-06-17T12:24:38.135" v="124" actId="165"/>
          <ac:grpSpMkLst>
            <pc:docMk/>
            <pc:sldMk cId="3384639587" sldId="2145705926"/>
            <ac:grpSpMk id="185" creationId="{D6EC6E06-FE60-4436-A830-2AEEE91EFCFB}"/>
          </ac:grpSpMkLst>
        </pc:grpChg>
        <pc:grpChg chg="mod topLvl">
          <ac:chgData name="Erick Moore" userId="96a732b2-26bb-45da-b8ee-37851dfdb22e" providerId="ADAL" clId="{A6768F3B-235C-4BDF-A79E-8DF5A2847A93}" dt="2021-06-17T12:24:53.611" v="130" actId="1076"/>
          <ac:grpSpMkLst>
            <pc:docMk/>
            <pc:sldMk cId="3384639587" sldId="2145705926"/>
            <ac:grpSpMk id="204" creationId="{449EC982-6BE6-4932-9A14-6E21AF669214}"/>
          </ac:grpSpMkLst>
        </pc:grpChg>
        <pc:grpChg chg="add mod">
          <ac:chgData name="Erick Moore" userId="96a732b2-26bb-45da-b8ee-37851dfdb22e" providerId="ADAL" clId="{A6768F3B-235C-4BDF-A79E-8DF5A2847A93}" dt="2021-06-17T12:26:09.781" v="164" actId="1076"/>
          <ac:grpSpMkLst>
            <pc:docMk/>
            <pc:sldMk cId="3384639587" sldId="2145705926"/>
            <ac:grpSpMk id="207" creationId="{5952B7E3-3303-42CB-ABAF-EA6D32B3A2D5}"/>
          </ac:grpSpMkLst>
        </pc:grpChg>
        <pc:grpChg chg="add mod">
          <ac:chgData name="Erick Moore" userId="96a732b2-26bb-45da-b8ee-37851dfdb22e" providerId="ADAL" clId="{A6768F3B-235C-4BDF-A79E-8DF5A2847A93}" dt="2021-06-17T12:26:13.806" v="165" actId="1076"/>
          <ac:grpSpMkLst>
            <pc:docMk/>
            <pc:sldMk cId="3384639587" sldId="2145705926"/>
            <ac:grpSpMk id="210" creationId="{86C76D53-AE75-443D-A486-C3539808F6D4}"/>
          </ac:grpSpMkLst>
        </pc:grpChg>
        <pc:graphicFrameChg chg="del">
          <ac:chgData name="Erick Moore" userId="96a732b2-26bb-45da-b8ee-37851dfdb22e" providerId="ADAL" clId="{A6768F3B-235C-4BDF-A79E-8DF5A2847A93}" dt="2021-06-17T12:24:01.402" v="94" actId="478"/>
          <ac:graphicFrameMkLst>
            <pc:docMk/>
            <pc:sldMk cId="3384639587" sldId="2145705926"/>
            <ac:graphicFrameMk id="8" creationId="{DF5980FD-B8DF-4C44-A5DF-1560A29BA87F}"/>
          </ac:graphicFrameMkLst>
        </pc:graphicFrameChg>
        <pc:picChg chg="del topLvl">
          <ac:chgData name="Erick Moore" userId="96a732b2-26bb-45da-b8ee-37851dfdb22e" providerId="ADAL" clId="{A6768F3B-235C-4BDF-A79E-8DF5A2847A93}" dt="2021-06-17T12:23:37.830" v="90" actId="21"/>
          <ac:picMkLst>
            <pc:docMk/>
            <pc:sldMk cId="3384639587" sldId="2145705926"/>
            <ac:picMk id="6" creationId="{0F0FB948-160A-4BF3-90EB-8D4809AD79B0}"/>
          </ac:picMkLst>
        </pc:picChg>
        <pc:picChg chg="add mod">
          <ac:chgData name="Erick Moore" userId="96a732b2-26bb-45da-b8ee-37851dfdb22e" providerId="ADAL" clId="{A6768F3B-235C-4BDF-A79E-8DF5A2847A93}" dt="2021-06-17T12:23:42.978" v="92"/>
          <ac:picMkLst>
            <pc:docMk/>
            <pc:sldMk cId="3384639587" sldId="2145705926"/>
            <ac:picMk id="183" creationId="{FE91F98C-5D4D-45CC-890F-3DE935C498D1}"/>
          </ac:picMkLst>
        </pc:picChg>
        <pc:picChg chg="mod">
          <ac:chgData name="Erick Moore" userId="96a732b2-26bb-45da-b8ee-37851dfdb22e" providerId="ADAL" clId="{A6768F3B-235C-4BDF-A79E-8DF5A2847A93}" dt="2021-06-17T12:24:38.135" v="124" actId="165"/>
          <ac:picMkLst>
            <pc:docMk/>
            <pc:sldMk cId="3384639587" sldId="2145705926"/>
            <ac:picMk id="206" creationId="{F87D3D85-50FD-431F-BFE4-61BC25364781}"/>
          </ac:picMkLst>
        </pc:picChg>
        <pc:picChg chg="mod">
          <ac:chgData name="Erick Moore" userId="96a732b2-26bb-45da-b8ee-37851dfdb22e" providerId="ADAL" clId="{A6768F3B-235C-4BDF-A79E-8DF5A2847A93}" dt="2021-06-17T12:24:55.265" v="131"/>
          <ac:picMkLst>
            <pc:docMk/>
            <pc:sldMk cId="3384639587" sldId="2145705926"/>
            <ac:picMk id="209" creationId="{4335EEAB-3222-4A89-94CA-AA6C4A340924}"/>
          </ac:picMkLst>
        </pc:picChg>
        <pc:picChg chg="mod">
          <ac:chgData name="Erick Moore" userId="96a732b2-26bb-45da-b8ee-37851dfdb22e" providerId="ADAL" clId="{A6768F3B-235C-4BDF-A79E-8DF5A2847A93}" dt="2021-06-17T12:25:03.961" v="143"/>
          <ac:picMkLst>
            <pc:docMk/>
            <pc:sldMk cId="3384639587" sldId="2145705926"/>
            <ac:picMk id="212" creationId="{12F84D35-ED47-4468-A3DC-69FD03DD2559}"/>
          </ac:picMkLst>
        </pc:picChg>
        <pc:cxnChg chg="del">
          <ac:chgData name="Erick Moore" userId="96a732b2-26bb-45da-b8ee-37851dfdb22e" providerId="ADAL" clId="{A6768F3B-235C-4BDF-A79E-8DF5A2847A93}" dt="2021-06-17T12:23:18.908" v="86" actId="478"/>
          <ac:cxnSpMkLst>
            <pc:docMk/>
            <pc:sldMk cId="3384639587" sldId="2145705926"/>
            <ac:cxnSpMk id="277" creationId="{26FA3916-5865-4DA3-B84A-2DA57E85D3D8}"/>
          </ac:cxnSpMkLst>
        </pc:cxnChg>
        <pc:cxnChg chg="del">
          <ac:chgData name="Erick Moore" userId="96a732b2-26bb-45da-b8ee-37851dfdb22e" providerId="ADAL" clId="{A6768F3B-235C-4BDF-A79E-8DF5A2847A93}" dt="2021-06-17T12:25:16.058" v="153" actId="478"/>
          <ac:cxnSpMkLst>
            <pc:docMk/>
            <pc:sldMk cId="3384639587" sldId="2145705926"/>
            <ac:cxnSpMk id="278" creationId="{B1E98091-ED4B-4941-B084-DAA4A3A96D02}"/>
          </ac:cxnSpMkLst>
        </pc:cxnChg>
      </pc:sldChg>
      <pc:sldChg chg="modSp new del mod">
        <pc:chgData name="Erick Moore" userId="96a732b2-26bb-45da-b8ee-37851dfdb22e" providerId="ADAL" clId="{A6768F3B-235C-4BDF-A79E-8DF5A2847A93}" dt="2021-06-17T18:57:23.494" v="2415" actId="2696"/>
        <pc:sldMkLst>
          <pc:docMk/>
          <pc:sldMk cId="1800071897" sldId="2145705927"/>
        </pc:sldMkLst>
        <pc:spChg chg="mod">
          <ac:chgData name="Erick Moore" userId="96a732b2-26bb-45da-b8ee-37851dfdb22e" providerId="ADAL" clId="{A6768F3B-235C-4BDF-A79E-8DF5A2847A93}" dt="2021-06-17T14:17:58.332" v="244" actId="20577"/>
          <ac:spMkLst>
            <pc:docMk/>
            <pc:sldMk cId="1800071897" sldId="2145705927"/>
            <ac:spMk id="2" creationId="{C624A917-25E1-44E1-A517-1E80CB9C3EE2}"/>
          </ac:spMkLst>
        </pc:spChg>
      </pc:sldChg>
      <pc:sldChg chg="addSp delSp modSp add mod ord modTransition delAnim modAnim modNotesTx">
        <pc:chgData name="Erick Moore" userId="96a732b2-26bb-45da-b8ee-37851dfdb22e" providerId="ADAL" clId="{A6768F3B-235C-4BDF-A79E-8DF5A2847A93}" dt="2021-06-24T13:39:39.587" v="12703" actId="20577"/>
        <pc:sldMkLst>
          <pc:docMk/>
          <pc:sldMk cId="3079443981" sldId="2145705928"/>
        </pc:sldMkLst>
        <pc:spChg chg="add mod">
          <ac:chgData name="Erick Moore" userId="96a732b2-26bb-45da-b8ee-37851dfdb22e" providerId="ADAL" clId="{A6768F3B-235C-4BDF-A79E-8DF5A2847A93}" dt="2021-06-17T15:31:13.999" v="986" actId="1076"/>
          <ac:spMkLst>
            <pc:docMk/>
            <pc:sldMk cId="3079443981" sldId="2145705928"/>
            <ac:spMk id="157" creationId="{48EC08C1-DFB3-4E40-BBFE-1BBECABE3D63}"/>
          </ac:spMkLst>
        </pc:spChg>
        <pc:spChg chg="add mod">
          <ac:chgData name="Erick Moore" userId="96a732b2-26bb-45da-b8ee-37851dfdb22e" providerId="ADAL" clId="{A6768F3B-235C-4BDF-A79E-8DF5A2847A93}" dt="2021-06-17T15:31:17.209" v="987" actId="1076"/>
          <ac:spMkLst>
            <pc:docMk/>
            <pc:sldMk cId="3079443981" sldId="2145705928"/>
            <ac:spMk id="158" creationId="{26D22692-C261-4FF1-AC8A-042AC4D35AA4}"/>
          </ac:spMkLst>
        </pc:spChg>
        <pc:spChg chg="add mod">
          <ac:chgData name="Erick Moore" userId="96a732b2-26bb-45da-b8ee-37851dfdb22e" providerId="ADAL" clId="{A6768F3B-235C-4BDF-A79E-8DF5A2847A93}" dt="2021-06-17T15:31:21.183" v="988" actId="1076"/>
          <ac:spMkLst>
            <pc:docMk/>
            <pc:sldMk cId="3079443981" sldId="2145705928"/>
            <ac:spMk id="159" creationId="{E0EE0218-D4E9-47D1-A26F-9C2DCF7A132A}"/>
          </ac:spMkLst>
        </pc:spChg>
        <pc:spChg chg="mod">
          <ac:chgData name="Erick Moore" userId="96a732b2-26bb-45da-b8ee-37851dfdb22e" providerId="ADAL" clId="{A6768F3B-235C-4BDF-A79E-8DF5A2847A93}" dt="2021-06-17T15:15:29.616" v="357" actId="20577"/>
          <ac:spMkLst>
            <pc:docMk/>
            <pc:sldMk cId="3079443981" sldId="2145705928"/>
            <ac:spMk id="243" creationId="{CE4E100D-6B15-44B6-8848-97E77D07BB1C}"/>
          </ac:spMkLst>
        </pc:spChg>
        <pc:spChg chg="del">
          <ac:chgData name="Erick Moore" userId="96a732b2-26bb-45da-b8ee-37851dfdb22e" providerId="ADAL" clId="{A6768F3B-235C-4BDF-A79E-8DF5A2847A93}" dt="2021-06-17T15:07:43.387" v="259" actId="478"/>
          <ac:spMkLst>
            <pc:docMk/>
            <pc:sldMk cId="3079443981" sldId="2145705928"/>
            <ac:spMk id="449" creationId="{104C9FEA-8DF9-3F46-8E74-912079909131}"/>
          </ac:spMkLst>
        </pc:spChg>
        <pc:grpChg chg="del">
          <ac:chgData name="Erick Moore" userId="96a732b2-26bb-45da-b8ee-37851dfdb22e" providerId="ADAL" clId="{A6768F3B-235C-4BDF-A79E-8DF5A2847A93}" dt="2021-06-17T15:07:41.160" v="258" actId="478"/>
          <ac:grpSpMkLst>
            <pc:docMk/>
            <pc:sldMk cId="3079443981" sldId="2145705928"/>
            <ac:grpSpMk id="3" creationId="{1B4C81C4-7497-4A70-B629-EE5DDB18A583}"/>
          </ac:grpSpMkLst>
        </pc:grpChg>
        <pc:grpChg chg="mod">
          <ac:chgData name="Erick Moore" userId="96a732b2-26bb-45da-b8ee-37851dfdb22e" providerId="ADAL" clId="{A6768F3B-235C-4BDF-A79E-8DF5A2847A93}" dt="2021-06-17T15:09:21.480" v="321" actId="1076"/>
          <ac:grpSpMkLst>
            <pc:docMk/>
            <pc:sldMk cId="3079443981" sldId="2145705928"/>
            <ac:grpSpMk id="5" creationId="{8E5EAA53-9F17-4A4E-9D54-75B801498E18}"/>
          </ac:grpSpMkLst>
        </pc:grpChg>
        <pc:grpChg chg="del">
          <ac:chgData name="Erick Moore" userId="96a732b2-26bb-45da-b8ee-37851dfdb22e" providerId="ADAL" clId="{A6768F3B-235C-4BDF-A79E-8DF5A2847A93}" dt="2021-06-17T15:07:22.708" v="254" actId="478"/>
          <ac:grpSpMkLst>
            <pc:docMk/>
            <pc:sldMk cId="3079443981" sldId="2145705928"/>
            <ac:grpSpMk id="191" creationId="{1CACE149-4844-9143-B428-19E2B5C0138B}"/>
          </ac:grpSpMkLst>
        </pc:grpChg>
        <pc:grpChg chg="del">
          <ac:chgData name="Erick Moore" userId="96a732b2-26bb-45da-b8ee-37851dfdb22e" providerId="ADAL" clId="{A6768F3B-235C-4BDF-A79E-8DF5A2847A93}" dt="2021-06-17T15:07:22.708" v="254" actId="478"/>
          <ac:grpSpMkLst>
            <pc:docMk/>
            <pc:sldMk cId="3079443981" sldId="2145705928"/>
            <ac:grpSpMk id="196" creationId="{20BF5531-C292-4943-96B7-D0AD14A71872}"/>
          </ac:grpSpMkLst>
        </pc:grpChg>
        <pc:grpChg chg="del">
          <ac:chgData name="Erick Moore" userId="96a732b2-26bb-45da-b8ee-37851dfdb22e" providerId="ADAL" clId="{A6768F3B-235C-4BDF-A79E-8DF5A2847A93}" dt="2021-06-17T15:07:25.111" v="255" actId="478"/>
          <ac:grpSpMkLst>
            <pc:docMk/>
            <pc:sldMk cId="3079443981" sldId="2145705928"/>
            <ac:grpSpMk id="201" creationId="{1E5AB57B-7238-A742-9D03-8D82D2AD8BBD}"/>
          </ac:grpSpMkLst>
        </pc:grpChg>
        <pc:grpChg chg="del">
          <ac:chgData name="Erick Moore" userId="96a732b2-26bb-45da-b8ee-37851dfdb22e" providerId="ADAL" clId="{A6768F3B-235C-4BDF-A79E-8DF5A2847A93}" dt="2021-06-17T15:07:43.387" v="259" actId="478"/>
          <ac:grpSpMkLst>
            <pc:docMk/>
            <pc:sldMk cId="3079443981" sldId="2145705928"/>
            <ac:grpSpMk id="207" creationId="{125D691D-18D9-8B4B-8567-C392738F7A61}"/>
          </ac:grpSpMkLst>
        </pc:grpChg>
        <pc:grpChg chg="del mod">
          <ac:chgData name="Erick Moore" userId="96a732b2-26bb-45da-b8ee-37851dfdb22e" providerId="ADAL" clId="{A6768F3B-235C-4BDF-A79E-8DF5A2847A93}" dt="2021-06-17T15:08:56.824" v="291" actId="478"/>
          <ac:grpSpMkLst>
            <pc:docMk/>
            <pc:sldMk cId="3079443981" sldId="2145705928"/>
            <ac:grpSpMk id="211" creationId="{35AA79D4-B971-46FD-B3BD-535030C695C5}"/>
          </ac:grpSpMkLst>
        </pc:grpChg>
        <pc:grpChg chg="del">
          <ac:chgData name="Erick Moore" userId="96a732b2-26bb-45da-b8ee-37851dfdb22e" providerId="ADAL" clId="{A6768F3B-235C-4BDF-A79E-8DF5A2847A93}" dt="2021-06-17T15:07:43.387" v="259" actId="478"/>
          <ac:grpSpMkLst>
            <pc:docMk/>
            <pc:sldMk cId="3079443981" sldId="2145705928"/>
            <ac:grpSpMk id="247" creationId="{08DA7818-4E88-CC45-89B6-E89ABEC21388}"/>
          </ac:grpSpMkLst>
        </pc:grpChg>
        <pc:grpChg chg="del">
          <ac:chgData name="Erick Moore" userId="96a732b2-26bb-45da-b8ee-37851dfdb22e" providerId="ADAL" clId="{A6768F3B-235C-4BDF-A79E-8DF5A2847A93}" dt="2021-06-17T15:07:22.708" v="254" actId="478"/>
          <ac:grpSpMkLst>
            <pc:docMk/>
            <pc:sldMk cId="3079443981" sldId="2145705928"/>
            <ac:grpSpMk id="255" creationId="{A4F0CE10-DB10-5543-B171-81EB37248189}"/>
          </ac:grpSpMkLst>
        </pc:grpChg>
        <pc:grpChg chg="del">
          <ac:chgData name="Erick Moore" userId="96a732b2-26bb-45da-b8ee-37851dfdb22e" providerId="ADAL" clId="{A6768F3B-235C-4BDF-A79E-8DF5A2847A93}" dt="2021-06-17T15:07:22.708" v="254" actId="478"/>
          <ac:grpSpMkLst>
            <pc:docMk/>
            <pc:sldMk cId="3079443981" sldId="2145705928"/>
            <ac:grpSpMk id="258" creationId="{1B118C9F-39E9-6747-8C53-849B7E75C7B7}"/>
          </ac:grpSpMkLst>
        </pc:grpChg>
        <pc:grpChg chg="del">
          <ac:chgData name="Erick Moore" userId="96a732b2-26bb-45da-b8ee-37851dfdb22e" providerId="ADAL" clId="{A6768F3B-235C-4BDF-A79E-8DF5A2847A93}" dt="2021-06-17T15:07:22.708" v="254" actId="478"/>
          <ac:grpSpMkLst>
            <pc:docMk/>
            <pc:sldMk cId="3079443981" sldId="2145705928"/>
            <ac:grpSpMk id="263" creationId="{F33415B9-C338-C34A-A822-4C0066F20D50}"/>
          </ac:grpSpMkLst>
        </pc:grpChg>
        <pc:grpChg chg="del">
          <ac:chgData name="Erick Moore" userId="96a732b2-26bb-45da-b8ee-37851dfdb22e" providerId="ADAL" clId="{A6768F3B-235C-4BDF-A79E-8DF5A2847A93}" dt="2021-06-17T15:07:39.271" v="257" actId="478"/>
          <ac:grpSpMkLst>
            <pc:docMk/>
            <pc:sldMk cId="3079443981" sldId="2145705928"/>
            <ac:grpSpMk id="336" creationId="{A5248D22-53B4-4EC5-ACAD-6963D24C76C4}"/>
          </ac:grpSpMkLst>
        </pc:grpChg>
        <pc:grpChg chg="del">
          <ac:chgData name="Erick Moore" userId="96a732b2-26bb-45da-b8ee-37851dfdb22e" providerId="ADAL" clId="{A6768F3B-235C-4BDF-A79E-8DF5A2847A93}" dt="2021-06-17T15:07:22.708" v="254" actId="478"/>
          <ac:grpSpMkLst>
            <pc:docMk/>
            <pc:sldMk cId="3079443981" sldId="2145705928"/>
            <ac:grpSpMk id="424" creationId="{1CA5A469-E5DC-174B-8120-3139095F6128}"/>
          </ac:grpSpMkLst>
        </pc:grpChg>
        <pc:grpChg chg="del">
          <ac:chgData name="Erick Moore" userId="96a732b2-26bb-45da-b8ee-37851dfdb22e" providerId="ADAL" clId="{A6768F3B-235C-4BDF-A79E-8DF5A2847A93}" dt="2021-06-17T15:07:22.708" v="254" actId="478"/>
          <ac:grpSpMkLst>
            <pc:docMk/>
            <pc:sldMk cId="3079443981" sldId="2145705928"/>
            <ac:grpSpMk id="431" creationId="{D9A0754D-2085-BD46-AB93-14FBD6203C41}"/>
          </ac:grpSpMkLst>
        </pc:grpChg>
        <pc:grpChg chg="del">
          <ac:chgData name="Erick Moore" userId="96a732b2-26bb-45da-b8ee-37851dfdb22e" providerId="ADAL" clId="{A6768F3B-235C-4BDF-A79E-8DF5A2847A93}" dt="2021-06-17T15:07:39.271" v="257" actId="478"/>
          <ac:grpSpMkLst>
            <pc:docMk/>
            <pc:sldMk cId="3079443981" sldId="2145705928"/>
            <ac:grpSpMk id="435" creationId="{44E19950-31D4-9F44-8CB5-AE92826A6403}"/>
          </ac:grpSpMkLst>
        </pc:grpChg>
        <pc:grpChg chg="del">
          <ac:chgData name="Erick Moore" userId="96a732b2-26bb-45da-b8ee-37851dfdb22e" providerId="ADAL" clId="{A6768F3B-235C-4BDF-A79E-8DF5A2847A93}" dt="2021-06-17T15:07:43.387" v="259" actId="478"/>
          <ac:grpSpMkLst>
            <pc:docMk/>
            <pc:sldMk cId="3079443981" sldId="2145705928"/>
            <ac:grpSpMk id="443" creationId="{069A0D46-D777-1F49-9381-ECCAEE0A4570}"/>
          </ac:grpSpMkLst>
        </pc:grpChg>
        <pc:grpChg chg="del">
          <ac:chgData name="Erick Moore" userId="96a732b2-26bb-45da-b8ee-37851dfdb22e" providerId="ADAL" clId="{A6768F3B-235C-4BDF-A79E-8DF5A2847A93}" dt="2021-06-17T15:07:39.271" v="257" actId="478"/>
          <ac:grpSpMkLst>
            <pc:docMk/>
            <pc:sldMk cId="3079443981" sldId="2145705928"/>
            <ac:grpSpMk id="450" creationId="{469F371B-C4C2-B741-BE11-28E14774953E}"/>
          </ac:grpSpMkLst>
        </pc:grpChg>
        <pc:picChg chg="add mod">
          <ac:chgData name="Erick Moore" userId="96a732b2-26bb-45da-b8ee-37851dfdb22e" providerId="ADAL" clId="{A6768F3B-235C-4BDF-A79E-8DF5A2847A93}" dt="2021-06-23T15:05:55.682" v="10028" actId="1440"/>
          <ac:picMkLst>
            <pc:docMk/>
            <pc:sldMk cId="3079443981" sldId="2145705928"/>
            <ac:picMk id="4" creationId="{7836210E-A5DC-4859-9E64-1270A370C2C5}"/>
          </ac:picMkLst>
        </pc:picChg>
        <pc:picChg chg="add mod">
          <ac:chgData name="Erick Moore" userId="96a732b2-26bb-45da-b8ee-37851dfdb22e" providerId="ADAL" clId="{A6768F3B-235C-4BDF-A79E-8DF5A2847A93}" dt="2021-06-23T15:06:00.603" v="10029" actId="1440"/>
          <ac:picMkLst>
            <pc:docMk/>
            <pc:sldMk cId="3079443981" sldId="2145705928"/>
            <ac:picMk id="7" creationId="{2947CB2F-3BF5-49CD-A812-CF7D18C78266}"/>
          </ac:picMkLst>
        </pc:picChg>
        <pc:picChg chg="add mod">
          <ac:chgData name="Erick Moore" userId="96a732b2-26bb-45da-b8ee-37851dfdb22e" providerId="ADAL" clId="{A6768F3B-235C-4BDF-A79E-8DF5A2847A93}" dt="2021-06-23T15:06:07.165" v="10030" actId="1440"/>
          <ac:picMkLst>
            <pc:docMk/>
            <pc:sldMk cId="3079443981" sldId="2145705928"/>
            <ac:picMk id="9" creationId="{C079CF27-CEAA-4872-B234-A5A1ED37EB53}"/>
          </ac:picMkLst>
        </pc:picChg>
        <pc:picChg chg="mod">
          <ac:chgData name="Erick Moore" userId="96a732b2-26bb-45da-b8ee-37851dfdb22e" providerId="ADAL" clId="{A6768F3B-235C-4BDF-A79E-8DF5A2847A93}" dt="2021-06-17T15:09:21.480" v="321" actId="1076"/>
          <ac:picMkLst>
            <pc:docMk/>
            <pc:sldMk cId="3079443981" sldId="2145705928"/>
            <ac:picMk id="206" creationId="{FD149382-87C6-43BE-BA16-8BB4865976AF}"/>
          </ac:picMkLst>
        </pc:picChg>
        <pc:picChg chg="del">
          <ac:chgData name="Erick Moore" userId="96a732b2-26bb-45da-b8ee-37851dfdb22e" providerId="ADAL" clId="{A6768F3B-235C-4BDF-A79E-8DF5A2847A93}" dt="2021-06-17T15:07:25.111" v="255" actId="478"/>
          <ac:picMkLst>
            <pc:docMk/>
            <pc:sldMk cId="3079443981" sldId="2145705928"/>
            <ac:picMk id="246" creationId="{A87B067C-0696-6943-9A04-E172B270DFB4}"/>
          </ac:picMkLst>
        </pc:picChg>
        <pc:picChg chg="del">
          <ac:chgData name="Erick Moore" userId="96a732b2-26bb-45da-b8ee-37851dfdb22e" providerId="ADAL" clId="{A6768F3B-235C-4BDF-A79E-8DF5A2847A93}" dt="2021-06-17T15:07:22.708" v="254" actId="478"/>
          <ac:picMkLst>
            <pc:docMk/>
            <pc:sldMk cId="3079443981" sldId="2145705928"/>
            <ac:picMk id="423" creationId="{243995E0-B5FC-B746-B54B-6AE18817A4D5}"/>
          </ac:picMkLst>
        </pc:picChg>
        <pc:picChg chg="del">
          <ac:chgData name="Erick Moore" userId="96a732b2-26bb-45da-b8ee-37851dfdb22e" providerId="ADAL" clId="{A6768F3B-235C-4BDF-A79E-8DF5A2847A93}" dt="2021-06-17T15:07:25.111" v="255" actId="478"/>
          <ac:picMkLst>
            <pc:docMk/>
            <pc:sldMk cId="3079443981" sldId="2145705928"/>
            <ac:picMk id="434" creationId="{3331E718-5954-3E41-86D9-FD2D4ED911A8}"/>
          </ac:picMkLst>
        </pc:picChg>
        <pc:picChg chg="del">
          <ac:chgData name="Erick Moore" userId="96a732b2-26bb-45da-b8ee-37851dfdb22e" providerId="ADAL" clId="{A6768F3B-235C-4BDF-A79E-8DF5A2847A93}" dt="2021-06-17T15:07:25.111" v="255" actId="478"/>
          <ac:picMkLst>
            <pc:docMk/>
            <pc:sldMk cId="3079443981" sldId="2145705928"/>
            <ac:picMk id="448" creationId="{12446A1F-651A-2443-AA92-0868001262A9}"/>
          </ac:picMkLst>
        </pc:picChg>
        <pc:picChg chg="del">
          <ac:chgData name="Erick Moore" userId="96a732b2-26bb-45da-b8ee-37851dfdb22e" providerId="ADAL" clId="{A6768F3B-235C-4BDF-A79E-8DF5A2847A93}" dt="2021-06-17T15:07:22.708" v="254" actId="478"/>
          <ac:picMkLst>
            <pc:docMk/>
            <pc:sldMk cId="3079443981" sldId="2145705928"/>
            <ac:picMk id="460" creationId="{B3016137-B4E4-6143-85E7-6A271163BC8F}"/>
          </ac:picMkLst>
        </pc:picChg>
        <pc:picChg chg="del">
          <ac:chgData name="Erick Moore" userId="96a732b2-26bb-45da-b8ee-37851dfdb22e" providerId="ADAL" clId="{A6768F3B-235C-4BDF-A79E-8DF5A2847A93}" dt="2021-06-17T15:07:22.708" v="254" actId="478"/>
          <ac:picMkLst>
            <pc:docMk/>
            <pc:sldMk cId="3079443981" sldId="2145705928"/>
            <ac:picMk id="461" creationId="{D6D0F93D-F37D-FF40-90DF-86F96A24BAC8}"/>
          </ac:picMkLst>
        </pc:picChg>
        <pc:picChg chg="del">
          <ac:chgData name="Erick Moore" userId="96a732b2-26bb-45da-b8ee-37851dfdb22e" providerId="ADAL" clId="{A6768F3B-235C-4BDF-A79E-8DF5A2847A93}" dt="2021-06-17T15:07:27.854" v="256" actId="478"/>
          <ac:picMkLst>
            <pc:docMk/>
            <pc:sldMk cId="3079443981" sldId="2145705928"/>
            <ac:picMk id="462" creationId="{7F486E28-8083-E643-814F-8C5D573ADCE5}"/>
          </ac:picMkLst>
        </pc:picChg>
        <pc:picChg chg="del">
          <ac:chgData name="Erick Moore" userId="96a732b2-26bb-45da-b8ee-37851dfdb22e" providerId="ADAL" clId="{A6768F3B-235C-4BDF-A79E-8DF5A2847A93}" dt="2021-06-17T15:07:22.708" v="254" actId="478"/>
          <ac:picMkLst>
            <pc:docMk/>
            <pc:sldMk cId="3079443981" sldId="2145705928"/>
            <ac:picMk id="463" creationId="{59E55AF7-044E-0747-B847-5E4A9933E684}"/>
          </ac:picMkLst>
        </pc:picChg>
        <pc:picChg chg="del">
          <ac:chgData name="Erick Moore" userId="96a732b2-26bb-45da-b8ee-37851dfdb22e" providerId="ADAL" clId="{A6768F3B-235C-4BDF-A79E-8DF5A2847A93}" dt="2021-06-17T15:07:43.387" v="259" actId="478"/>
          <ac:picMkLst>
            <pc:docMk/>
            <pc:sldMk cId="3079443981" sldId="2145705928"/>
            <ac:picMk id="464" creationId="{D397E675-B782-8B4D-8405-4B7BBC96CF0B}"/>
          </ac:picMkLst>
        </pc:picChg>
        <pc:picChg chg="del">
          <ac:chgData name="Erick Moore" userId="96a732b2-26bb-45da-b8ee-37851dfdb22e" providerId="ADAL" clId="{A6768F3B-235C-4BDF-A79E-8DF5A2847A93}" dt="2021-06-17T15:07:25.111" v="255" actId="478"/>
          <ac:picMkLst>
            <pc:docMk/>
            <pc:sldMk cId="3079443981" sldId="2145705928"/>
            <ac:picMk id="465" creationId="{21F20F08-E1CA-C74F-9032-CDA942894582}"/>
          </ac:picMkLst>
        </pc:picChg>
        <pc:picChg chg="del">
          <ac:chgData name="Erick Moore" userId="96a732b2-26bb-45da-b8ee-37851dfdb22e" providerId="ADAL" clId="{A6768F3B-235C-4BDF-A79E-8DF5A2847A93}" dt="2021-06-17T15:07:25.111" v="255" actId="478"/>
          <ac:picMkLst>
            <pc:docMk/>
            <pc:sldMk cId="3079443981" sldId="2145705928"/>
            <ac:picMk id="466" creationId="{6D48190D-4404-7544-869C-15976E82CC0E}"/>
          </ac:picMkLst>
        </pc:picChg>
        <pc:picChg chg="del">
          <ac:chgData name="Erick Moore" userId="96a732b2-26bb-45da-b8ee-37851dfdb22e" providerId="ADAL" clId="{A6768F3B-235C-4BDF-A79E-8DF5A2847A93}" dt="2021-06-17T15:07:39.271" v="257" actId="478"/>
          <ac:picMkLst>
            <pc:docMk/>
            <pc:sldMk cId="3079443981" sldId="2145705928"/>
            <ac:picMk id="467" creationId="{18AF1315-74E6-CB4C-83FA-C1A8E0CB90A4}"/>
          </ac:picMkLst>
        </pc:picChg>
        <pc:picChg chg="del">
          <ac:chgData name="Erick Moore" userId="96a732b2-26bb-45da-b8ee-37851dfdb22e" providerId="ADAL" clId="{A6768F3B-235C-4BDF-A79E-8DF5A2847A93}" dt="2021-06-17T15:07:39.271" v="257" actId="478"/>
          <ac:picMkLst>
            <pc:docMk/>
            <pc:sldMk cId="3079443981" sldId="2145705928"/>
            <ac:picMk id="468" creationId="{1EED587D-F153-3942-9ECE-71DEEFD4B2B3}"/>
          </ac:picMkLst>
        </pc:picChg>
        <pc:picChg chg="del">
          <ac:chgData name="Erick Moore" userId="96a732b2-26bb-45da-b8ee-37851dfdb22e" providerId="ADAL" clId="{A6768F3B-235C-4BDF-A79E-8DF5A2847A93}" dt="2021-06-17T15:07:39.271" v="257" actId="478"/>
          <ac:picMkLst>
            <pc:docMk/>
            <pc:sldMk cId="3079443981" sldId="2145705928"/>
            <ac:picMk id="470" creationId="{12889A74-7052-134F-98B5-9C140885119D}"/>
          </ac:picMkLst>
        </pc:picChg>
        <pc:cxnChg chg="del mod">
          <ac:chgData name="Erick Moore" userId="96a732b2-26bb-45da-b8ee-37851dfdb22e" providerId="ADAL" clId="{A6768F3B-235C-4BDF-A79E-8DF5A2847A93}" dt="2021-06-17T15:08:39.870" v="283" actId="478"/>
          <ac:cxnSpMkLst>
            <pc:docMk/>
            <pc:sldMk cId="3079443981" sldId="2145705928"/>
            <ac:cxnSpMk id="212" creationId="{C7786B4F-854F-4776-AEBD-A1261B460D60}"/>
          </ac:cxnSpMkLst>
        </pc:cxnChg>
        <pc:cxnChg chg="del mod">
          <ac:chgData name="Erick Moore" userId="96a732b2-26bb-45da-b8ee-37851dfdb22e" providerId="ADAL" clId="{A6768F3B-235C-4BDF-A79E-8DF5A2847A93}" dt="2021-06-17T15:08:38.303" v="282" actId="478"/>
          <ac:cxnSpMkLst>
            <pc:docMk/>
            <pc:sldMk cId="3079443981" sldId="2145705928"/>
            <ac:cxnSpMk id="213" creationId="{0FD3408F-79B5-4E68-95E4-6811ABA5C8EF}"/>
          </ac:cxnSpMkLst>
        </pc:cxnChg>
        <pc:cxnChg chg="del mod">
          <ac:chgData name="Erick Moore" userId="96a732b2-26bb-45da-b8ee-37851dfdb22e" providerId="ADAL" clId="{A6768F3B-235C-4BDF-A79E-8DF5A2847A93}" dt="2021-06-17T15:07:56.749" v="265" actId="478"/>
          <ac:cxnSpMkLst>
            <pc:docMk/>
            <pc:sldMk cId="3079443981" sldId="2145705928"/>
            <ac:cxnSpMk id="214" creationId="{74B81510-6A4E-4C9D-8977-9AF8477EC834}"/>
          </ac:cxnSpMkLst>
        </pc:cxnChg>
        <pc:cxnChg chg="del mod">
          <ac:chgData name="Erick Moore" userId="96a732b2-26bb-45da-b8ee-37851dfdb22e" providerId="ADAL" clId="{A6768F3B-235C-4BDF-A79E-8DF5A2847A93}" dt="2021-06-17T15:07:58.981" v="266" actId="478"/>
          <ac:cxnSpMkLst>
            <pc:docMk/>
            <pc:sldMk cId="3079443981" sldId="2145705928"/>
            <ac:cxnSpMk id="215" creationId="{0021B799-92A3-456C-82AC-A83D18484CEA}"/>
          </ac:cxnSpMkLst>
        </pc:cxnChg>
        <pc:cxnChg chg="del mod">
          <ac:chgData name="Erick Moore" userId="96a732b2-26bb-45da-b8ee-37851dfdb22e" providerId="ADAL" clId="{A6768F3B-235C-4BDF-A79E-8DF5A2847A93}" dt="2021-06-17T15:08:41.950" v="284" actId="478"/>
          <ac:cxnSpMkLst>
            <pc:docMk/>
            <pc:sldMk cId="3079443981" sldId="2145705928"/>
            <ac:cxnSpMk id="216" creationId="{7C6AF80D-2F07-4A31-A23D-73AB3618DBDF}"/>
          </ac:cxnSpMkLst>
        </pc:cxnChg>
        <pc:cxnChg chg="del mod">
          <ac:chgData name="Erick Moore" userId="96a732b2-26bb-45da-b8ee-37851dfdb22e" providerId="ADAL" clId="{A6768F3B-235C-4BDF-A79E-8DF5A2847A93}" dt="2021-06-17T15:08:43.733" v="285" actId="478"/>
          <ac:cxnSpMkLst>
            <pc:docMk/>
            <pc:sldMk cId="3079443981" sldId="2145705928"/>
            <ac:cxnSpMk id="217" creationId="{84716617-6883-4BB3-A483-3EDB1D195BB5}"/>
          </ac:cxnSpMkLst>
        </pc:cxnChg>
        <pc:cxnChg chg="del mod">
          <ac:chgData name="Erick Moore" userId="96a732b2-26bb-45da-b8ee-37851dfdb22e" providerId="ADAL" clId="{A6768F3B-235C-4BDF-A79E-8DF5A2847A93}" dt="2021-06-17T15:08:45.308" v="286" actId="478"/>
          <ac:cxnSpMkLst>
            <pc:docMk/>
            <pc:sldMk cId="3079443981" sldId="2145705928"/>
            <ac:cxnSpMk id="218" creationId="{92B28F34-DE55-41AD-B93F-28935A83BD42}"/>
          </ac:cxnSpMkLst>
        </pc:cxnChg>
        <pc:cxnChg chg="del mod">
          <ac:chgData name="Erick Moore" userId="96a732b2-26bb-45da-b8ee-37851dfdb22e" providerId="ADAL" clId="{A6768F3B-235C-4BDF-A79E-8DF5A2847A93}" dt="2021-06-17T15:08:47.709" v="287" actId="478"/>
          <ac:cxnSpMkLst>
            <pc:docMk/>
            <pc:sldMk cId="3079443981" sldId="2145705928"/>
            <ac:cxnSpMk id="219" creationId="{004BA438-CB2B-44DF-B0F7-07C4EA3A73AE}"/>
          </ac:cxnSpMkLst>
        </pc:cxnChg>
        <pc:cxnChg chg="del mod">
          <ac:chgData name="Erick Moore" userId="96a732b2-26bb-45da-b8ee-37851dfdb22e" providerId="ADAL" clId="{A6768F3B-235C-4BDF-A79E-8DF5A2847A93}" dt="2021-06-17T15:08:49.803" v="288" actId="478"/>
          <ac:cxnSpMkLst>
            <pc:docMk/>
            <pc:sldMk cId="3079443981" sldId="2145705928"/>
            <ac:cxnSpMk id="220" creationId="{81D1BD7F-E7D6-4AA3-8ED7-BA0E992302A5}"/>
          </ac:cxnSpMkLst>
        </pc:cxnChg>
        <pc:cxnChg chg="del mod">
          <ac:chgData name="Erick Moore" userId="96a732b2-26bb-45da-b8ee-37851dfdb22e" providerId="ADAL" clId="{A6768F3B-235C-4BDF-A79E-8DF5A2847A93}" dt="2021-06-17T15:08:19.818" v="275" actId="478"/>
          <ac:cxnSpMkLst>
            <pc:docMk/>
            <pc:sldMk cId="3079443981" sldId="2145705928"/>
            <ac:cxnSpMk id="221" creationId="{73E4BBE8-9BC5-4E04-BA54-27AF5A477E30}"/>
          </ac:cxnSpMkLst>
        </pc:cxnChg>
        <pc:cxnChg chg="del mod">
          <ac:chgData name="Erick Moore" userId="96a732b2-26bb-45da-b8ee-37851dfdb22e" providerId="ADAL" clId="{A6768F3B-235C-4BDF-A79E-8DF5A2847A93}" dt="2021-06-17T15:08:17.501" v="274" actId="478"/>
          <ac:cxnSpMkLst>
            <pc:docMk/>
            <pc:sldMk cId="3079443981" sldId="2145705928"/>
            <ac:cxnSpMk id="222" creationId="{D5763F71-986A-4760-AAB0-B94FD91229DE}"/>
          </ac:cxnSpMkLst>
        </pc:cxnChg>
        <pc:cxnChg chg="del mod">
          <ac:chgData name="Erick Moore" userId="96a732b2-26bb-45da-b8ee-37851dfdb22e" providerId="ADAL" clId="{A6768F3B-235C-4BDF-A79E-8DF5A2847A93}" dt="2021-06-17T15:08:15.318" v="273" actId="478"/>
          <ac:cxnSpMkLst>
            <pc:docMk/>
            <pc:sldMk cId="3079443981" sldId="2145705928"/>
            <ac:cxnSpMk id="223" creationId="{5AD75CAB-B1B6-495E-BEA4-DCACBA193471}"/>
          </ac:cxnSpMkLst>
        </pc:cxnChg>
        <pc:cxnChg chg="del mod">
          <ac:chgData name="Erick Moore" userId="96a732b2-26bb-45da-b8ee-37851dfdb22e" providerId="ADAL" clId="{A6768F3B-235C-4BDF-A79E-8DF5A2847A93}" dt="2021-06-17T15:08:12.153" v="272" actId="478"/>
          <ac:cxnSpMkLst>
            <pc:docMk/>
            <pc:sldMk cId="3079443981" sldId="2145705928"/>
            <ac:cxnSpMk id="224" creationId="{C305734E-C69A-43B0-B0EC-A4E268D63131}"/>
          </ac:cxnSpMkLst>
        </pc:cxnChg>
        <pc:cxnChg chg="del mod">
          <ac:chgData name="Erick Moore" userId="96a732b2-26bb-45da-b8ee-37851dfdb22e" providerId="ADAL" clId="{A6768F3B-235C-4BDF-A79E-8DF5A2847A93}" dt="2021-06-17T15:08:21.636" v="276" actId="478"/>
          <ac:cxnSpMkLst>
            <pc:docMk/>
            <pc:sldMk cId="3079443981" sldId="2145705928"/>
            <ac:cxnSpMk id="225" creationId="{E416775A-69BC-4AD4-B958-B4FE6C3A0090}"/>
          </ac:cxnSpMkLst>
        </pc:cxnChg>
        <pc:cxnChg chg="del mod">
          <ac:chgData name="Erick Moore" userId="96a732b2-26bb-45da-b8ee-37851dfdb22e" providerId="ADAL" clId="{A6768F3B-235C-4BDF-A79E-8DF5A2847A93}" dt="2021-06-17T15:07:51.660" v="262" actId="478"/>
          <ac:cxnSpMkLst>
            <pc:docMk/>
            <pc:sldMk cId="3079443981" sldId="2145705928"/>
            <ac:cxnSpMk id="226" creationId="{B08AF377-ED05-4FE8-873B-3C5860BD1E74}"/>
          </ac:cxnSpMkLst>
        </pc:cxnChg>
        <pc:cxnChg chg="del mod">
          <ac:chgData name="Erick Moore" userId="96a732b2-26bb-45da-b8ee-37851dfdb22e" providerId="ADAL" clId="{A6768F3B-235C-4BDF-A79E-8DF5A2847A93}" dt="2021-06-17T15:07:49.766" v="261" actId="478"/>
          <ac:cxnSpMkLst>
            <pc:docMk/>
            <pc:sldMk cId="3079443981" sldId="2145705928"/>
            <ac:cxnSpMk id="227" creationId="{EF48D7E8-423B-4DA0-8C3B-65A783FFA9F7}"/>
          </ac:cxnSpMkLst>
        </pc:cxnChg>
        <pc:cxnChg chg="del mod">
          <ac:chgData name="Erick Moore" userId="96a732b2-26bb-45da-b8ee-37851dfdb22e" providerId="ADAL" clId="{A6768F3B-235C-4BDF-A79E-8DF5A2847A93}" dt="2021-06-17T15:08:24.299" v="277" actId="478"/>
          <ac:cxnSpMkLst>
            <pc:docMk/>
            <pc:sldMk cId="3079443981" sldId="2145705928"/>
            <ac:cxnSpMk id="228" creationId="{77E7DA71-09C8-4DFD-9534-42D9422A9DB9}"/>
          </ac:cxnSpMkLst>
        </pc:cxnChg>
        <pc:cxnChg chg="del mod">
          <ac:chgData name="Erick Moore" userId="96a732b2-26bb-45da-b8ee-37851dfdb22e" providerId="ADAL" clId="{A6768F3B-235C-4BDF-A79E-8DF5A2847A93}" dt="2021-06-17T15:07:47.291" v="260" actId="478"/>
          <ac:cxnSpMkLst>
            <pc:docMk/>
            <pc:sldMk cId="3079443981" sldId="2145705928"/>
            <ac:cxnSpMk id="229" creationId="{34E97E84-2D41-4AF3-8581-25737ECA5417}"/>
          </ac:cxnSpMkLst>
        </pc:cxnChg>
        <pc:cxnChg chg="del mod">
          <ac:chgData name="Erick Moore" userId="96a732b2-26bb-45da-b8ee-37851dfdb22e" providerId="ADAL" clId="{A6768F3B-235C-4BDF-A79E-8DF5A2847A93}" dt="2021-06-17T15:08:54.693" v="290" actId="478"/>
          <ac:cxnSpMkLst>
            <pc:docMk/>
            <pc:sldMk cId="3079443981" sldId="2145705928"/>
            <ac:cxnSpMk id="230" creationId="{9C136F6D-DE1A-4387-86C3-3C0CAE88C18D}"/>
          </ac:cxnSpMkLst>
        </pc:cxnChg>
        <pc:cxnChg chg="mod">
          <ac:chgData name="Erick Moore" userId="96a732b2-26bb-45da-b8ee-37851dfdb22e" providerId="ADAL" clId="{A6768F3B-235C-4BDF-A79E-8DF5A2847A93}" dt="2021-06-17T15:08:56.824" v="291" actId="478"/>
          <ac:cxnSpMkLst>
            <pc:docMk/>
            <pc:sldMk cId="3079443981" sldId="2145705928"/>
            <ac:cxnSpMk id="231" creationId="{0355A8DA-715D-48CA-B21C-26C42AFBC7CC}"/>
          </ac:cxnSpMkLst>
        </pc:cxnChg>
        <pc:cxnChg chg="del mod">
          <ac:chgData name="Erick Moore" userId="96a732b2-26bb-45da-b8ee-37851dfdb22e" providerId="ADAL" clId="{A6768F3B-235C-4BDF-A79E-8DF5A2847A93}" dt="2021-06-17T15:08:33.224" v="280" actId="478"/>
          <ac:cxnSpMkLst>
            <pc:docMk/>
            <pc:sldMk cId="3079443981" sldId="2145705928"/>
            <ac:cxnSpMk id="232" creationId="{874039F7-E635-4603-AB92-0103F236AA99}"/>
          </ac:cxnSpMkLst>
        </pc:cxnChg>
        <pc:cxnChg chg="del mod">
          <ac:chgData name="Erick Moore" userId="96a732b2-26bb-45da-b8ee-37851dfdb22e" providerId="ADAL" clId="{A6768F3B-235C-4BDF-A79E-8DF5A2847A93}" dt="2021-06-17T15:08:30.861" v="279" actId="478"/>
          <ac:cxnSpMkLst>
            <pc:docMk/>
            <pc:sldMk cId="3079443981" sldId="2145705928"/>
            <ac:cxnSpMk id="233" creationId="{7B4C664A-08AA-4991-8FAB-5B7EBB0FCD4F}"/>
          </ac:cxnSpMkLst>
        </pc:cxnChg>
        <pc:cxnChg chg="del mod">
          <ac:chgData name="Erick Moore" userId="96a732b2-26bb-45da-b8ee-37851dfdb22e" providerId="ADAL" clId="{A6768F3B-235C-4BDF-A79E-8DF5A2847A93}" dt="2021-06-17T15:08:28.976" v="278" actId="478"/>
          <ac:cxnSpMkLst>
            <pc:docMk/>
            <pc:sldMk cId="3079443981" sldId="2145705928"/>
            <ac:cxnSpMk id="234" creationId="{18303D69-3660-45D4-B82F-148AA3524A5F}"/>
          </ac:cxnSpMkLst>
        </pc:cxnChg>
        <pc:cxnChg chg="del mod">
          <ac:chgData name="Erick Moore" userId="96a732b2-26bb-45da-b8ee-37851dfdb22e" providerId="ADAL" clId="{A6768F3B-235C-4BDF-A79E-8DF5A2847A93}" dt="2021-06-17T15:08:35.979" v="281" actId="478"/>
          <ac:cxnSpMkLst>
            <pc:docMk/>
            <pc:sldMk cId="3079443981" sldId="2145705928"/>
            <ac:cxnSpMk id="235" creationId="{80334EAF-86EC-4431-AC3D-CC2DFBE78D4D}"/>
          </ac:cxnSpMkLst>
        </pc:cxnChg>
        <pc:cxnChg chg="del mod">
          <ac:chgData name="Erick Moore" userId="96a732b2-26bb-45da-b8ee-37851dfdb22e" providerId="ADAL" clId="{A6768F3B-235C-4BDF-A79E-8DF5A2847A93}" dt="2021-06-17T15:08:01.163" v="267" actId="478"/>
          <ac:cxnSpMkLst>
            <pc:docMk/>
            <pc:sldMk cId="3079443981" sldId="2145705928"/>
            <ac:cxnSpMk id="237" creationId="{4115EEA6-7C67-43C2-9F25-B0DD24D0ECA7}"/>
          </ac:cxnSpMkLst>
        </pc:cxnChg>
        <pc:cxnChg chg="del mod">
          <ac:chgData name="Erick Moore" userId="96a732b2-26bb-45da-b8ee-37851dfdb22e" providerId="ADAL" clId="{A6768F3B-235C-4BDF-A79E-8DF5A2847A93}" dt="2021-06-17T15:08:03.184" v="268" actId="478"/>
          <ac:cxnSpMkLst>
            <pc:docMk/>
            <pc:sldMk cId="3079443981" sldId="2145705928"/>
            <ac:cxnSpMk id="238" creationId="{19BB86EB-5C5D-46BE-B086-3A5835EDFB43}"/>
          </ac:cxnSpMkLst>
        </pc:cxnChg>
        <pc:cxnChg chg="del mod">
          <ac:chgData name="Erick Moore" userId="96a732b2-26bb-45da-b8ee-37851dfdb22e" providerId="ADAL" clId="{A6768F3B-235C-4BDF-A79E-8DF5A2847A93}" dt="2021-06-17T15:08:05.386" v="269" actId="478"/>
          <ac:cxnSpMkLst>
            <pc:docMk/>
            <pc:sldMk cId="3079443981" sldId="2145705928"/>
            <ac:cxnSpMk id="239" creationId="{3C4C5922-2365-45EE-B6ED-EB5967D87AF8}"/>
          </ac:cxnSpMkLst>
        </pc:cxnChg>
        <pc:cxnChg chg="del mod">
          <ac:chgData name="Erick Moore" userId="96a732b2-26bb-45da-b8ee-37851dfdb22e" providerId="ADAL" clId="{A6768F3B-235C-4BDF-A79E-8DF5A2847A93}" dt="2021-06-17T15:08:07.569" v="270" actId="478"/>
          <ac:cxnSpMkLst>
            <pc:docMk/>
            <pc:sldMk cId="3079443981" sldId="2145705928"/>
            <ac:cxnSpMk id="240" creationId="{00E9036D-63EB-4FB2-8EF3-E901556CC5AB}"/>
          </ac:cxnSpMkLst>
        </pc:cxnChg>
        <pc:cxnChg chg="del mod">
          <ac:chgData name="Erick Moore" userId="96a732b2-26bb-45da-b8ee-37851dfdb22e" providerId="ADAL" clId="{A6768F3B-235C-4BDF-A79E-8DF5A2847A93}" dt="2021-06-17T15:08:09.954" v="271" actId="478"/>
          <ac:cxnSpMkLst>
            <pc:docMk/>
            <pc:sldMk cId="3079443981" sldId="2145705928"/>
            <ac:cxnSpMk id="241" creationId="{0D73D453-52CA-47FD-B0E9-608A6D4D3141}"/>
          </ac:cxnSpMkLst>
        </pc:cxnChg>
        <pc:cxnChg chg="del mod">
          <ac:chgData name="Erick Moore" userId="96a732b2-26bb-45da-b8ee-37851dfdb22e" providerId="ADAL" clId="{A6768F3B-235C-4BDF-A79E-8DF5A2847A93}" dt="2021-06-17T15:08:52.375" v="289" actId="478"/>
          <ac:cxnSpMkLst>
            <pc:docMk/>
            <pc:sldMk cId="3079443981" sldId="2145705928"/>
            <ac:cxnSpMk id="242" creationId="{48E44318-A665-48B3-99BD-D82E88C35147}"/>
          </ac:cxnSpMkLst>
        </pc:cxnChg>
      </pc:sldChg>
      <pc:sldChg chg="addSp delSp modSp add mod modAnim modNotesTx">
        <pc:chgData name="Erick Moore" userId="96a732b2-26bb-45da-b8ee-37851dfdb22e" providerId="ADAL" clId="{A6768F3B-235C-4BDF-A79E-8DF5A2847A93}" dt="2021-06-25T14:10:49.655" v="14268" actId="20577"/>
        <pc:sldMkLst>
          <pc:docMk/>
          <pc:sldMk cId="48680643" sldId="2145705929"/>
        </pc:sldMkLst>
        <pc:spChg chg="add del mod">
          <ac:chgData name="Erick Moore" userId="96a732b2-26bb-45da-b8ee-37851dfdb22e" providerId="ADAL" clId="{A6768F3B-235C-4BDF-A79E-8DF5A2847A93}" dt="2021-06-17T15:20:07.359" v="553" actId="478"/>
          <ac:spMkLst>
            <pc:docMk/>
            <pc:sldMk cId="48680643" sldId="2145705929"/>
            <ac:spMk id="15" creationId="{473D1E78-B469-4E51-B805-4DEB27B04573}"/>
          </ac:spMkLst>
        </pc:spChg>
        <pc:spChg chg="add mod">
          <ac:chgData name="Erick Moore" userId="96a732b2-26bb-45da-b8ee-37851dfdb22e" providerId="ADAL" clId="{A6768F3B-235C-4BDF-A79E-8DF5A2847A93}" dt="2021-06-25T14:09:46.824" v="14233" actId="164"/>
          <ac:spMkLst>
            <pc:docMk/>
            <pc:sldMk cId="48680643" sldId="2145705929"/>
            <ac:spMk id="16" creationId="{01321B7D-37BC-4564-93F4-7DA33F51E386}"/>
          </ac:spMkLst>
        </pc:spChg>
        <pc:spChg chg="add mod">
          <ac:chgData name="Erick Moore" userId="96a732b2-26bb-45da-b8ee-37851dfdb22e" providerId="ADAL" clId="{A6768F3B-235C-4BDF-A79E-8DF5A2847A93}" dt="2021-06-25T14:10:02.423" v="14235" actId="164"/>
          <ac:spMkLst>
            <pc:docMk/>
            <pc:sldMk cId="48680643" sldId="2145705929"/>
            <ac:spMk id="17" creationId="{7D30AC91-FDCC-4222-A12E-6F660FB53561}"/>
          </ac:spMkLst>
        </pc:spChg>
        <pc:spChg chg="add mod">
          <ac:chgData name="Erick Moore" userId="96a732b2-26bb-45da-b8ee-37851dfdb22e" providerId="ADAL" clId="{A6768F3B-235C-4BDF-A79E-8DF5A2847A93}" dt="2021-06-25T14:10:02.423" v="14235" actId="164"/>
          <ac:spMkLst>
            <pc:docMk/>
            <pc:sldMk cId="48680643" sldId="2145705929"/>
            <ac:spMk id="18" creationId="{3BBEB036-1C6D-4873-8F9A-98BC8484699D}"/>
          </ac:spMkLst>
        </pc:spChg>
        <pc:spChg chg="add mod">
          <ac:chgData name="Erick Moore" userId="96a732b2-26bb-45da-b8ee-37851dfdb22e" providerId="ADAL" clId="{A6768F3B-235C-4BDF-A79E-8DF5A2847A93}" dt="2021-06-25T14:09:46.824" v="14233" actId="164"/>
          <ac:spMkLst>
            <pc:docMk/>
            <pc:sldMk cId="48680643" sldId="2145705929"/>
            <ac:spMk id="19" creationId="{6BB6BCF4-DD4D-45B4-8135-CAF17DE63CF3}"/>
          </ac:spMkLst>
        </pc:spChg>
        <pc:spChg chg="add mod">
          <ac:chgData name="Erick Moore" userId="96a732b2-26bb-45da-b8ee-37851dfdb22e" providerId="ADAL" clId="{A6768F3B-235C-4BDF-A79E-8DF5A2847A93}" dt="2021-06-25T14:10:07.911" v="14236" actId="164"/>
          <ac:spMkLst>
            <pc:docMk/>
            <pc:sldMk cId="48680643" sldId="2145705929"/>
            <ac:spMk id="20" creationId="{C4DE72F3-D48F-4B55-8FE4-834987A06E62}"/>
          </ac:spMkLst>
        </pc:spChg>
        <pc:spChg chg="add mod">
          <ac:chgData name="Erick Moore" userId="96a732b2-26bb-45da-b8ee-37851dfdb22e" providerId="ADAL" clId="{A6768F3B-235C-4BDF-A79E-8DF5A2847A93}" dt="2021-06-25T14:10:07.911" v="14236" actId="164"/>
          <ac:spMkLst>
            <pc:docMk/>
            <pc:sldMk cId="48680643" sldId="2145705929"/>
            <ac:spMk id="21" creationId="{AA16CB05-44CD-45B0-836F-1E5913DBFB66}"/>
          </ac:spMkLst>
        </pc:spChg>
        <pc:spChg chg="mod">
          <ac:chgData name="Erick Moore" userId="96a732b2-26bb-45da-b8ee-37851dfdb22e" providerId="ADAL" clId="{A6768F3B-235C-4BDF-A79E-8DF5A2847A93}" dt="2021-06-25T14:10:49.655" v="14268" actId="20577"/>
          <ac:spMkLst>
            <pc:docMk/>
            <pc:sldMk cId="48680643" sldId="2145705929"/>
            <ac:spMk id="157" creationId="{48EC08C1-DFB3-4E40-BBFE-1BBECABE3D63}"/>
          </ac:spMkLst>
        </pc:spChg>
        <pc:spChg chg="del">
          <ac:chgData name="Erick Moore" userId="96a732b2-26bb-45da-b8ee-37851dfdb22e" providerId="ADAL" clId="{A6768F3B-235C-4BDF-A79E-8DF5A2847A93}" dt="2021-06-17T15:19:43.315" v="546" actId="478"/>
          <ac:spMkLst>
            <pc:docMk/>
            <pc:sldMk cId="48680643" sldId="2145705929"/>
            <ac:spMk id="158" creationId="{26D22692-C261-4FF1-AC8A-042AC4D35AA4}"/>
          </ac:spMkLst>
        </pc:spChg>
        <pc:spChg chg="del">
          <ac:chgData name="Erick Moore" userId="96a732b2-26bb-45da-b8ee-37851dfdb22e" providerId="ADAL" clId="{A6768F3B-235C-4BDF-A79E-8DF5A2847A93}" dt="2021-06-17T15:19:44.962" v="547" actId="478"/>
          <ac:spMkLst>
            <pc:docMk/>
            <pc:sldMk cId="48680643" sldId="2145705929"/>
            <ac:spMk id="159" creationId="{E0EE0218-D4E9-47D1-A26F-9C2DCF7A132A}"/>
          </ac:spMkLst>
        </pc:spChg>
        <pc:grpChg chg="add mod">
          <ac:chgData name="Erick Moore" userId="96a732b2-26bb-45da-b8ee-37851dfdb22e" providerId="ADAL" clId="{A6768F3B-235C-4BDF-A79E-8DF5A2847A93}" dt="2021-06-25T14:09:46.824" v="14233" actId="164"/>
          <ac:grpSpMkLst>
            <pc:docMk/>
            <pc:sldMk cId="48680643" sldId="2145705929"/>
            <ac:grpSpMk id="2" creationId="{72821BF1-4BB2-4D4D-A3F3-5B909908CD7D}"/>
          </ac:grpSpMkLst>
        </pc:grpChg>
        <pc:grpChg chg="add mod">
          <ac:chgData name="Erick Moore" userId="96a732b2-26bb-45da-b8ee-37851dfdb22e" providerId="ADAL" clId="{A6768F3B-235C-4BDF-A79E-8DF5A2847A93}" dt="2021-06-25T14:10:02.423" v="14235" actId="164"/>
          <ac:grpSpMkLst>
            <pc:docMk/>
            <pc:sldMk cId="48680643" sldId="2145705929"/>
            <ac:grpSpMk id="3" creationId="{7A123919-9D15-4A44-93E5-58261168A52B}"/>
          </ac:grpSpMkLst>
        </pc:grpChg>
        <pc:grpChg chg="add mod">
          <ac:chgData name="Erick Moore" userId="96a732b2-26bb-45da-b8ee-37851dfdb22e" providerId="ADAL" clId="{A6768F3B-235C-4BDF-A79E-8DF5A2847A93}" dt="2021-06-25T14:10:07.911" v="14236" actId="164"/>
          <ac:grpSpMkLst>
            <pc:docMk/>
            <pc:sldMk cId="48680643" sldId="2145705929"/>
            <ac:grpSpMk id="4" creationId="{4003F6D4-1860-4A88-8F33-64405517507E}"/>
          </ac:grpSpMkLst>
        </pc:grpChg>
        <pc:picChg chg="del">
          <ac:chgData name="Erick Moore" userId="96a732b2-26bb-45da-b8ee-37851dfdb22e" providerId="ADAL" clId="{A6768F3B-235C-4BDF-A79E-8DF5A2847A93}" dt="2021-06-17T15:18:48.999" v="402" actId="478"/>
          <ac:picMkLst>
            <pc:docMk/>
            <pc:sldMk cId="48680643" sldId="2145705929"/>
            <ac:picMk id="4" creationId="{7836210E-A5DC-4859-9E64-1270A370C2C5}"/>
          </ac:picMkLst>
        </pc:picChg>
        <pc:picChg chg="del">
          <ac:chgData name="Erick Moore" userId="96a732b2-26bb-45da-b8ee-37851dfdb22e" providerId="ADAL" clId="{A6768F3B-235C-4BDF-A79E-8DF5A2847A93}" dt="2021-06-17T15:18:48.366" v="401" actId="478"/>
          <ac:picMkLst>
            <pc:docMk/>
            <pc:sldMk cId="48680643" sldId="2145705929"/>
            <ac:picMk id="7" creationId="{2947CB2F-3BF5-49CD-A812-CF7D18C78266}"/>
          </ac:picMkLst>
        </pc:picChg>
        <pc:picChg chg="del">
          <ac:chgData name="Erick Moore" userId="96a732b2-26bb-45da-b8ee-37851dfdb22e" providerId="ADAL" clId="{A6768F3B-235C-4BDF-A79E-8DF5A2847A93}" dt="2021-06-17T15:18:47.740" v="400" actId="478"/>
          <ac:picMkLst>
            <pc:docMk/>
            <pc:sldMk cId="48680643" sldId="2145705929"/>
            <ac:picMk id="9" creationId="{C079CF27-CEAA-4872-B234-A5A1ED37EB53}"/>
          </ac:picMkLst>
        </pc:picChg>
      </pc:sldChg>
      <pc:sldChg chg="addSp delSp modSp add mod modTransition delAnim modAnim modNotesTx">
        <pc:chgData name="Erick Moore" userId="96a732b2-26bb-45da-b8ee-37851dfdb22e" providerId="ADAL" clId="{A6768F3B-235C-4BDF-A79E-8DF5A2847A93}" dt="2021-06-24T14:01:22.271" v="14106"/>
        <pc:sldMkLst>
          <pc:docMk/>
          <pc:sldMk cId="1102166551" sldId="2145705930"/>
        </pc:sldMkLst>
        <pc:spChg chg="add mod">
          <ac:chgData name="Erick Moore" userId="96a732b2-26bb-45da-b8ee-37851dfdb22e" providerId="ADAL" clId="{A6768F3B-235C-4BDF-A79E-8DF5A2847A93}" dt="2021-06-17T17:44:43.633" v="2107" actId="1076"/>
          <ac:spMkLst>
            <pc:docMk/>
            <pc:sldMk cId="1102166551" sldId="2145705930"/>
            <ac:spMk id="17" creationId="{6C888C00-E318-43FB-A80C-54A8EA42D2C3}"/>
          </ac:spMkLst>
        </pc:spChg>
        <pc:spChg chg="del">
          <ac:chgData name="Erick Moore" userId="96a732b2-26bb-45da-b8ee-37851dfdb22e" providerId="ADAL" clId="{A6768F3B-235C-4BDF-A79E-8DF5A2847A93}" dt="2021-06-17T17:42:37.044" v="2081" actId="478"/>
          <ac:spMkLst>
            <pc:docMk/>
            <pc:sldMk cId="1102166551" sldId="2145705930"/>
            <ac:spMk id="157" creationId="{48EC08C1-DFB3-4E40-BBFE-1BBECABE3D63}"/>
          </ac:spMkLst>
        </pc:spChg>
        <pc:spChg chg="del">
          <ac:chgData name="Erick Moore" userId="96a732b2-26bb-45da-b8ee-37851dfdb22e" providerId="ADAL" clId="{A6768F3B-235C-4BDF-A79E-8DF5A2847A93}" dt="2021-06-17T17:42:38.931" v="2082" actId="478"/>
          <ac:spMkLst>
            <pc:docMk/>
            <pc:sldMk cId="1102166551" sldId="2145705930"/>
            <ac:spMk id="158" creationId="{26D22692-C261-4FF1-AC8A-042AC4D35AA4}"/>
          </ac:spMkLst>
        </pc:spChg>
        <pc:spChg chg="del">
          <ac:chgData name="Erick Moore" userId="96a732b2-26bb-45da-b8ee-37851dfdb22e" providerId="ADAL" clId="{A6768F3B-235C-4BDF-A79E-8DF5A2847A93}" dt="2021-06-17T17:42:41.662" v="2083" actId="478"/>
          <ac:spMkLst>
            <pc:docMk/>
            <pc:sldMk cId="1102166551" sldId="2145705930"/>
            <ac:spMk id="159" creationId="{E0EE0218-D4E9-47D1-A26F-9C2DCF7A132A}"/>
          </ac:spMkLst>
        </pc:spChg>
        <pc:picChg chg="add mod">
          <ac:chgData name="Erick Moore" userId="96a732b2-26bb-45da-b8ee-37851dfdb22e" providerId="ADAL" clId="{A6768F3B-235C-4BDF-A79E-8DF5A2847A93}" dt="2021-06-23T15:05:45.986" v="10027" actId="1440"/>
          <ac:picMkLst>
            <pc:docMk/>
            <pc:sldMk cId="1102166551" sldId="2145705930"/>
            <ac:picMk id="3" creationId="{AE0D332B-2AF9-42B5-9CAD-103515F3FA57}"/>
          </ac:picMkLst>
        </pc:picChg>
        <pc:picChg chg="del">
          <ac:chgData name="Erick Moore" userId="96a732b2-26bb-45da-b8ee-37851dfdb22e" providerId="ADAL" clId="{A6768F3B-235C-4BDF-A79E-8DF5A2847A93}" dt="2021-06-17T17:42:34.387" v="2080" actId="478"/>
          <ac:picMkLst>
            <pc:docMk/>
            <pc:sldMk cId="1102166551" sldId="2145705930"/>
            <ac:picMk id="4" creationId="{7836210E-A5DC-4859-9E64-1270A370C2C5}"/>
          </ac:picMkLst>
        </pc:picChg>
        <pc:picChg chg="del">
          <ac:chgData name="Erick Moore" userId="96a732b2-26bb-45da-b8ee-37851dfdb22e" providerId="ADAL" clId="{A6768F3B-235C-4BDF-A79E-8DF5A2847A93}" dt="2021-06-17T17:42:33.641" v="2079" actId="478"/>
          <ac:picMkLst>
            <pc:docMk/>
            <pc:sldMk cId="1102166551" sldId="2145705930"/>
            <ac:picMk id="7" creationId="{2947CB2F-3BF5-49CD-A812-CF7D18C78266}"/>
          </ac:picMkLst>
        </pc:picChg>
        <pc:picChg chg="del">
          <ac:chgData name="Erick Moore" userId="96a732b2-26bb-45da-b8ee-37851dfdb22e" providerId="ADAL" clId="{A6768F3B-235C-4BDF-A79E-8DF5A2847A93}" dt="2021-06-17T17:42:32.747" v="2078" actId="478"/>
          <ac:picMkLst>
            <pc:docMk/>
            <pc:sldMk cId="1102166551" sldId="2145705930"/>
            <ac:picMk id="9" creationId="{C079CF27-CEAA-4872-B234-A5A1ED37EB53}"/>
          </ac:picMkLst>
        </pc:picChg>
      </pc:sldChg>
      <pc:sldChg chg="add del">
        <pc:chgData name="Erick Moore" userId="96a732b2-26bb-45da-b8ee-37851dfdb22e" providerId="ADAL" clId="{A6768F3B-235C-4BDF-A79E-8DF5A2847A93}" dt="2021-06-17T19:40:33.129" v="2572" actId="2696"/>
        <pc:sldMkLst>
          <pc:docMk/>
          <pc:sldMk cId="2808657161" sldId="2145705931"/>
        </pc:sldMkLst>
      </pc:sldChg>
      <pc:sldChg chg="addSp delSp modSp add mod modNotesTx">
        <pc:chgData name="Erick Moore" userId="96a732b2-26bb-45da-b8ee-37851dfdb22e" providerId="ADAL" clId="{A6768F3B-235C-4BDF-A79E-8DF5A2847A93}" dt="2021-06-24T13:43:43.349" v="12786" actId="20577"/>
        <pc:sldMkLst>
          <pc:docMk/>
          <pc:sldMk cId="1847866599" sldId="2145705932"/>
        </pc:sldMkLst>
        <pc:spChg chg="mod">
          <ac:chgData name="Erick Moore" userId="96a732b2-26bb-45da-b8ee-37851dfdb22e" providerId="ADAL" clId="{A6768F3B-235C-4BDF-A79E-8DF5A2847A93}" dt="2021-06-17T19:41:33.030" v="2668" actId="122"/>
          <ac:spMkLst>
            <pc:docMk/>
            <pc:sldMk cId="1847866599" sldId="2145705932"/>
            <ac:spMk id="17" creationId="{6C888C00-E318-43FB-A80C-54A8EA42D2C3}"/>
          </ac:spMkLst>
        </pc:spChg>
        <pc:spChg chg="add mod">
          <ac:chgData name="Erick Moore" userId="96a732b2-26bb-45da-b8ee-37851dfdb22e" providerId="ADAL" clId="{A6768F3B-235C-4BDF-A79E-8DF5A2847A93}" dt="2021-06-17T19:54:39.724" v="2980" actId="14100"/>
          <ac:spMkLst>
            <pc:docMk/>
            <pc:sldMk cId="1847866599" sldId="2145705932"/>
            <ac:spMk id="27" creationId="{C3D7BFB0-2FEE-42AE-8273-78D9586CAA0C}"/>
          </ac:spMkLst>
        </pc:spChg>
        <pc:spChg chg="add mod">
          <ac:chgData name="Erick Moore" userId="96a732b2-26bb-45da-b8ee-37851dfdb22e" providerId="ADAL" clId="{A6768F3B-235C-4BDF-A79E-8DF5A2847A93}" dt="2021-06-17T19:41:33.030" v="2668" actId="122"/>
          <ac:spMkLst>
            <pc:docMk/>
            <pc:sldMk cId="1847866599" sldId="2145705932"/>
            <ac:spMk id="28" creationId="{341B4838-6E5C-4EEB-B099-9F71B699AA18}"/>
          </ac:spMkLst>
        </pc:spChg>
        <pc:spChg chg="add mod">
          <ac:chgData name="Erick Moore" userId="96a732b2-26bb-45da-b8ee-37851dfdb22e" providerId="ADAL" clId="{A6768F3B-235C-4BDF-A79E-8DF5A2847A93}" dt="2021-06-17T19:59:14.479" v="3029" actId="20577"/>
          <ac:spMkLst>
            <pc:docMk/>
            <pc:sldMk cId="1847866599" sldId="2145705932"/>
            <ac:spMk id="29" creationId="{929BEB5C-D9F8-409E-828E-0F6BF9776A57}"/>
          </ac:spMkLst>
        </pc:spChg>
        <pc:spChg chg="add mod">
          <ac:chgData name="Erick Moore" userId="96a732b2-26bb-45da-b8ee-37851dfdb22e" providerId="ADAL" clId="{A6768F3B-235C-4BDF-A79E-8DF5A2847A93}" dt="2021-06-17T19:41:33.030" v="2668" actId="122"/>
          <ac:spMkLst>
            <pc:docMk/>
            <pc:sldMk cId="1847866599" sldId="2145705932"/>
            <ac:spMk id="30" creationId="{CDD5805B-294B-4B3C-83ED-4CC0EE776FF7}"/>
          </ac:spMkLst>
        </pc:spChg>
        <pc:spChg chg="del">
          <ac:chgData name="Erick Moore" userId="96a732b2-26bb-45da-b8ee-37851dfdb22e" providerId="ADAL" clId="{A6768F3B-235C-4BDF-A79E-8DF5A2847A93}" dt="2021-06-17T18:57:48.021" v="2417" actId="478"/>
          <ac:spMkLst>
            <pc:docMk/>
            <pc:sldMk cId="1847866599" sldId="2145705932"/>
            <ac:spMk id="243" creationId="{CE4E100D-6B15-44B6-8848-97E77D07BB1C}"/>
          </ac:spMkLst>
        </pc:spChg>
        <pc:grpChg chg="del">
          <ac:chgData name="Erick Moore" userId="96a732b2-26bb-45da-b8ee-37851dfdb22e" providerId="ADAL" clId="{A6768F3B-235C-4BDF-A79E-8DF5A2847A93}" dt="2021-06-17T18:57:48.021" v="2417" actId="478"/>
          <ac:grpSpMkLst>
            <pc:docMk/>
            <pc:sldMk cId="1847866599" sldId="2145705932"/>
            <ac:grpSpMk id="5" creationId="{8E5EAA53-9F17-4A4E-9D54-75B801498E18}"/>
          </ac:grpSpMkLst>
        </pc:grpChg>
        <pc:picChg chg="del mod">
          <ac:chgData name="Erick Moore" userId="96a732b2-26bb-45da-b8ee-37851dfdb22e" providerId="ADAL" clId="{A6768F3B-235C-4BDF-A79E-8DF5A2847A93}" dt="2021-06-17T19:38:36.563" v="2476" actId="478"/>
          <ac:picMkLst>
            <pc:docMk/>
            <pc:sldMk cId="1847866599" sldId="2145705932"/>
            <ac:picMk id="3" creationId="{AE0D332B-2AF9-42B5-9CAD-103515F3FA57}"/>
          </ac:picMkLst>
        </pc:picChg>
        <pc:picChg chg="add del mod">
          <ac:chgData name="Erick Moore" userId="96a732b2-26bb-45da-b8ee-37851dfdb22e" providerId="ADAL" clId="{A6768F3B-235C-4BDF-A79E-8DF5A2847A93}" dt="2021-06-17T19:36:01.890" v="2467" actId="478"/>
          <ac:picMkLst>
            <pc:docMk/>
            <pc:sldMk cId="1847866599" sldId="2145705932"/>
            <ac:picMk id="4" creationId="{54B22424-EBAE-418A-9210-3FB9EE80C495}"/>
          </ac:picMkLst>
        </pc:picChg>
        <pc:picChg chg="add del mod">
          <ac:chgData name="Erick Moore" userId="96a732b2-26bb-45da-b8ee-37851dfdb22e" providerId="ADAL" clId="{A6768F3B-235C-4BDF-A79E-8DF5A2847A93}" dt="2021-06-17T19:36:01.358" v="2466" actId="478"/>
          <ac:picMkLst>
            <pc:docMk/>
            <pc:sldMk cId="1847866599" sldId="2145705932"/>
            <ac:picMk id="7" creationId="{A429D445-F91E-435C-9157-130B2748284D}"/>
          </ac:picMkLst>
        </pc:picChg>
        <pc:picChg chg="add del mod">
          <ac:chgData name="Erick Moore" userId="96a732b2-26bb-45da-b8ee-37851dfdb22e" providerId="ADAL" clId="{A6768F3B-235C-4BDF-A79E-8DF5A2847A93}" dt="2021-06-17T19:32:37.139" v="2464" actId="478"/>
          <ac:picMkLst>
            <pc:docMk/>
            <pc:sldMk cId="1847866599" sldId="2145705932"/>
            <ac:picMk id="9" creationId="{09CB9DF2-3CEC-4353-9E25-C2A88EA11E52}"/>
          </ac:picMkLst>
        </pc:picChg>
        <pc:picChg chg="add del mod">
          <ac:chgData name="Erick Moore" userId="96a732b2-26bb-45da-b8ee-37851dfdb22e" providerId="ADAL" clId="{A6768F3B-235C-4BDF-A79E-8DF5A2847A93}" dt="2021-06-17T19:36:00.712" v="2465" actId="478"/>
          <ac:picMkLst>
            <pc:docMk/>
            <pc:sldMk cId="1847866599" sldId="2145705932"/>
            <ac:picMk id="11" creationId="{BFD69EFE-E3EB-45B0-A7E6-5D9D33FBD1F1}"/>
          </ac:picMkLst>
        </pc:picChg>
        <pc:picChg chg="add mod">
          <ac:chgData name="Erick Moore" userId="96a732b2-26bb-45da-b8ee-37851dfdb22e" providerId="ADAL" clId="{A6768F3B-235C-4BDF-A79E-8DF5A2847A93}" dt="2021-06-17T19:40:21.202" v="2571" actId="1076"/>
          <ac:picMkLst>
            <pc:docMk/>
            <pc:sldMk cId="1847866599" sldId="2145705932"/>
            <ac:picMk id="13" creationId="{15B9B34A-9EDB-4E45-B3C2-BEB4A432D7A3}"/>
          </ac:picMkLst>
        </pc:picChg>
        <pc:picChg chg="add mod">
          <ac:chgData name="Erick Moore" userId="96a732b2-26bb-45da-b8ee-37851dfdb22e" providerId="ADAL" clId="{A6768F3B-235C-4BDF-A79E-8DF5A2847A93}" dt="2021-06-17T19:40:21.202" v="2571" actId="1076"/>
          <ac:picMkLst>
            <pc:docMk/>
            <pc:sldMk cId="1847866599" sldId="2145705932"/>
            <ac:picMk id="15" creationId="{02E73163-AA26-4EB5-96CF-406F69506D60}"/>
          </ac:picMkLst>
        </pc:picChg>
        <pc:picChg chg="add mod">
          <ac:chgData name="Erick Moore" userId="96a732b2-26bb-45da-b8ee-37851dfdb22e" providerId="ADAL" clId="{A6768F3B-235C-4BDF-A79E-8DF5A2847A93}" dt="2021-06-17T19:40:21.202" v="2571" actId="1076"/>
          <ac:picMkLst>
            <pc:docMk/>
            <pc:sldMk cId="1847866599" sldId="2145705932"/>
            <ac:picMk id="18" creationId="{7BF654E5-24E6-4AE4-B4F3-0F4F0352DE8C}"/>
          </ac:picMkLst>
        </pc:picChg>
        <pc:picChg chg="add mod">
          <ac:chgData name="Erick Moore" userId="96a732b2-26bb-45da-b8ee-37851dfdb22e" providerId="ADAL" clId="{A6768F3B-235C-4BDF-A79E-8DF5A2847A93}" dt="2021-06-17T19:40:21.202" v="2571" actId="1076"/>
          <ac:picMkLst>
            <pc:docMk/>
            <pc:sldMk cId="1847866599" sldId="2145705932"/>
            <ac:picMk id="20" creationId="{CC2D4EC7-4323-4ADC-9E6E-619459305C4C}"/>
          </ac:picMkLst>
        </pc:picChg>
        <pc:picChg chg="del">
          <ac:chgData name="Erick Moore" userId="96a732b2-26bb-45da-b8ee-37851dfdb22e" providerId="ADAL" clId="{A6768F3B-235C-4BDF-A79E-8DF5A2847A93}" dt="2021-06-17T18:57:49.564" v="2418" actId="478"/>
          <ac:picMkLst>
            <pc:docMk/>
            <pc:sldMk cId="1847866599" sldId="2145705932"/>
            <ac:picMk id="206" creationId="{FD149382-87C6-43BE-BA16-8BB4865976AF}"/>
          </ac:picMkLst>
        </pc:picChg>
        <pc:cxnChg chg="add mod">
          <ac:chgData name="Erick Moore" userId="96a732b2-26bb-45da-b8ee-37851dfdb22e" providerId="ADAL" clId="{A6768F3B-235C-4BDF-A79E-8DF5A2847A93}" dt="2021-06-17T20:12:56.404" v="3406" actId="1076"/>
          <ac:cxnSpMkLst>
            <pc:docMk/>
            <pc:sldMk cId="1847866599" sldId="2145705932"/>
            <ac:cxnSpMk id="22" creationId="{64B18E2D-5F41-4722-8964-B87F1B93A77A}"/>
          </ac:cxnSpMkLst>
        </pc:cxnChg>
      </pc:sldChg>
      <pc:sldChg chg="addSp delSp modSp add mod modTransition modAnim modNotesTx">
        <pc:chgData name="Erick Moore" userId="96a732b2-26bb-45da-b8ee-37851dfdb22e" providerId="ADAL" clId="{A6768F3B-235C-4BDF-A79E-8DF5A2847A93}" dt="2021-06-24T14:01:09.767" v="14105"/>
        <pc:sldMkLst>
          <pc:docMk/>
          <pc:sldMk cId="3804043620" sldId="2145705933"/>
        </pc:sldMkLst>
        <pc:spChg chg="mod">
          <ac:chgData name="Erick Moore" userId="96a732b2-26bb-45da-b8ee-37851dfdb22e" providerId="ADAL" clId="{A6768F3B-235C-4BDF-A79E-8DF5A2847A93}" dt="2021-06-21T12:28:16.868" v="9304" actId="20577"/>
          <ac:spMkLst>
            <pc:docMk/>
            <pc:sldMk cId="3804043620" sldId="2145705933"/>
            <ac:spMk id="17" creationId="{6C888C00-E318-43FB-A80C-54A8EA42D2C3}"/>
          </ac:spMkLst>
        </pc:spChg>
        <pc:spChg chg="mod">
          <ac:chgData name="Erick Moore" userId="96a732b2-26bb-45da-b8ee-37851dfdb22e" providerId="ADAL" clId="{A6768F3B-235C-4BDF-A79E-8DF5A2847A93}" dt="2021-06-17T19:54:12.591" v="2959" actId="20577"/>
          <ac:spMkLst>
            <pc:docMk/>
            <pc:sldMk cId="3804043620" sldId="2145705933"/>
            <ac:spMk id="27" creationId="{C3D7BFB0-2FEE-42AE-8273-78D9586CAA0C}"/>
          </ac:spMkLst>
        </pc:spChg>
        <pc:spChg chg="del">
          <ac:chgData name="Erick Moore" userId="96a732b2-26bb-45da-b8ee-37851dfdb22e" providerId="ADAL" clId="{A6768F3B-235C-4BDF-A79E-8DF5A2847A93}" dt="2021-06-17T19:50:13.848" v="2813" actId="478"/>
          <ac:spMkLst>
            <pc:docMk/>
            <pc:sldMk cId="3804043620" sldId="2145705933"/>
            <ac:spMk id="28" creationId="{341B4838-6E5C-4EEB-B099-9F71B699AA18}"/>
          </ac:spMkLst>
        </pc:spChg>
        <pc:spChg chg="del">
          <ac:chgData name="Erick Moore" userId="96a732b2-26bb-45da-b8ee-37851dfdb22e" providerId="ADAL" clId="{A6768F3B-235C-4BDF-A79E-8DF5A2847A93}" dt="2021-06-17T19:50:13.848" v="2813" actId="478"/>
          <ac:spMkLst>
            <pc:docMk/>
            <pc:sldMk cId="3804043620" sldId="2145705933"/>
            <ac:spMk id="29" creationId="{929BEB5C-D9F8-409E-828E-0F6BF9776A57}"/>
          </ac:spMkLst>
        </pc:spChg>
        <pc:spChg chg="del">
          <ac:chgData name="Erick Moore" userId="96a732b2-26bb-45da-b8ee-37851dfdb22e" providerId="ADAL" clId="{A6768F3B-235C-4BDF-A79E-8DF5A2847A93}" dt="2021-06-17T19:50:13.848" v="2813" actId="478"/>
          <ac:spMkLst>
            <pc:docMk/>
            <pc:sldMk cId="3804043620" sldId="2145705933"/>
            <ac:spMk id="30" creationId="{CDD5805B-294B-4B3C-83ED-4CC0EE776FF7}"/>
          </ac:spMkLst>
        </pc:spChg>
        <pc:picChg chg="del">
          <ac:chgData name="Erick Moore" userId="96a732b2-26bb-45da-b8ee-37851dfdb22e" providerId="ADAL" clId="{A6768F3B-235C-4BDF-A79E-8DF5A2847A93}" dt="2021-06-17T19:50:13.848" v="2813" actId="478"/>
          <ac:picMkLst>
            <pc:docMk/>
            <pc:sldMk cId="3804043620" sldId="2145705933"/>
            <ac:picMk id="13" creationId="{15B9B34A-9EDB-4E45-B3C2-BEB4A432D7A3}"/>
          </ac:picMkLst>
        </pc:picChg>
        <pc:picChg chg="del">
          <ac:chgData name="Erick Moore" userId="96a732b2-26bb-45da-b8ee-37851dfdb22e" providerId="ADAL" clId="{A6768F3B-235C-4BDF-A79E-8DF5A2847A93}" dt="2021-06-17T19:50:13.848" v="2813" actId="478"/>
          <ac:picMkLst>
            <pc:docMk/>
            <pc:sldMk cId="3804043620" sldId="2145705933"/>
            <ac:picMk id="15" creationId="{02E73163-AA26-4EB5-96CF-406F69506D60}"/>
          </ac:picMkLst>
        </pc:picChg>
        <pc:picChg chg="mod">
          <ac:chgData name="Erick Moore" userId="96a732b2-26bb-45da-b8ee-37851dfdb22e" providerId="ADAL" clId="{A6768F3B-235C-4BDF-A79E-8DF5A2847A93}" dt="2021-06-17T19:51:32.821" v="2908" actId="1076"/>
          <ac:picMkLst>
            <pc:docMk/>
            <pc:sldMk cId="3804043620" sldId="2145705933"/>
            <ac:picMk id="18" creationId="{7BF654E5-24E6-4AE4-B4F3-0F4F0352DE8C}"/>
          </ac:picMkLst>
        </pc:picChg>
        <pc:picChg chg="del">
          <ac:chgData name="Erick Moore" userId="96a732b2-26bb-45da-b8ee-37851dfdb22e" providerId="ADAL" clId="{A6768F3B-235C-4BDF-A79E-8DF5A2847A93}" dt="2021-06-17T19:50:13.848" v="2813" actId="478"/>
          <ac:picMkLst>
            <pc:docMk/>
            <pc:sldMk cId="3804043620" sldId="2145705933"/>
            <ac:picMk id="20" creationId="{CC2D4EC7-4323-4ADC-9E6E-619459305C4C}"/>
          </ac:picMkLst>
        </pc:picChg>
        <pc:cxnChg chg="add mod">
          <ac:chgData name="Erick Moore" userId="96a732b2-26bb-45da-b8ee-37851dfdb22e" providerId="ADAL" clId="{A6768F3B-235C-4BDF-A79E-8DF5A2847A93}" dt="2021-06-17T20:13:00.638" v="3407"/>
          <ac:cxnSpMkLst>
            <pc:docMk/>
            <pc:sldMk cId="3804043620" sldId="2145705933"/>
            <ac:cxnSpMk id="11" creationId="{4351228D-A737-41ED-A203-17E08A6B016B}"/>
          </ac:cxnSpMkLst>
        </pc:cxnChg>
      </pc:sldChg>
      <pc:sldChg chg="addSp modSp add mod modTransition modAnim modNotesTx">
        <pc:chgData name="Erick Moore" userId="96a732b2-26bb-45da-b8ee-37851dfdb22e" providerId="ADAL" clId="{A6768F3B-235C-4BDF-A79E-8DF5A2847A93}" dt="2021-07-06T14:45:33.395" v="15007"/>
        <pc:sldMkLst>
          <pc:docMk/>
          <pc:sldMk cId="1252690396" sldId="2145705934"/>
        </pc:sldMkLst>
        <pc:spChg chg="mod">
          <ac:chgData name="Erick Moore" userId="96a732b2-26bb-45da-b8ee-37851dfdb22e" providerId="ADAL" clId="{A6768F3B-235C-4BDF-A79E-8DF5A2847A93}" dt="2021-06-30T18:48:21.216" v="15005" actId="2711"/>
          <ac:spMkLst>
            <pc:docMk/>
            <pc:sldMk cId="1252690396" sldId="2145705934"/>
            <ac:spMk id="17" creationId="{6C888C00-E318-43FB-A80C-54A8EA42D2C3}"/>
          </ac:spMkLst>
        </pc:spChg>
        <pc:spChg chg="mod">
          <ac:chgData name="Erick Moore" userId="96a732b2-26bb-45da-b8ee-37851dfdb22e" providerId="ADAL" clId="{A6768F3B-235C-4BDF-A79E-8DF5A2847A93}" dt="2021-06-17T19:54:35.430" v="2979" actId="14100"/>
          <ac:spMkLst>
            <pc:docMk/>
            <pc:sldMk cId="1252690396" sldId="2145705934"/>
            <ac:spMk id="27" creationId="{C3D7BFB0-2FEE-42AE-8273-78D9586CAA0C}"/>
          </ac:spMkLst>
        </pc:spChg>
        <pc:picChg chg="mod">
          <ac:chgData name="Erick Moore" userId="96a732b2-26bb-45da-b8ee-37851dfdb22e" providerId="ADAL" clId="{A6768F3B-235C-4BDF-A79E-8DF5A2847A93}" dt="2021-06-17T19:53:25.486" v="2912" actId="14826"/>
          <ac:picMkLst>
            <pc:docMk/>
            <pc:sldMk cId="1252690396" sldId="2145705934"/>
            <ac:picMk id="18" creationId="{7BF654E5-24E6-4AE4-B4F3-0F4F0352DE8C}"/>
          </ac:picMkLst>
        </pc:picChg>
        <pc:cxnChg chg="add mod">
          <ac:chgData name="Erick Moore" userId="96a732b2-26bb-45da-b8ee-37851dfdb22e" providerId="ADAL" clId="{A6768F3B-235C-4BDF-A79E-8DF5A2847A93}" dt="2021-06-17T20:13:02.075" v="3408"/>
          <ac:cxnSpMkLst>
            <pc:docMk/>
            <pc:sldMk cId="1252690396" sldId="2145705934"/>
            <ac:cxnSpMk id="5" creationId="{232E43CA-4763-458A-96D0-30D5D8BE65D3}"/>
          </ac:cxnSpMkLst>
        </pc:cxnChg>
      </pc:sldChg>
      <pc:sldChg chg="addSp modSp add mod modTransition modAnim modNotesTx">
        <pc:chgData name="Erick Moore" userId="96a732b2-26bb-45da-b8ee-37851dfdb22e" providerId="ADAL" clId="{A6768F3B-235C-4BDF-A79E-8DF5A2847A93}" dt="2021-06-24T14:03:03.141" v="14112"/>
        <pc:sldMkLst>
          <pc:docMk/>
          <pc:sldMk cId="4161746958" sldId="2145705935"/>
        </pc:sldMkLst>
        <pc:spChg chg="mod">
          <ac:chgData name="Erick Moore" userId="96a732b2-26bb-45da-b8ee-37851dfdb22e" providerId="ADAL" clId="{A6768F3B-235C-4BDF-A79E-8DF5A2847A93}" dt="2021-06-17T21:17:34.650" v="4988" actId="20577"/>
          <ac:spMkLst>
            <pc:docMk/>
            <pc:sldMk cId="4161746958" sldId="2145705935"/>
            <ac:spMk id="17" creationId="{6C888C00-E318-43FB-A80C-54A8EA42D2C3}"/>
          </ac:spMkLst>
        </pc:spChg>
        <pc:spChg chg="mod">
          <ac:chgData name="Erick Moore" userId="96a732b2-26bb-45da-b8ee-37851dfdb22e" providerId="ADAL" clId="{A6768F3B-235C-4BDF-A79E-8DF5A2847A93}" dt="2021-06-17T20:00:27.467" v="3047" actId="20577"/>
          <ac:spMkLst>
            <pc:docMk/>
            <pc:sldMk cId="4161746958" sldId="2145705935"/>
            <ac:spMk id="27" creationId="{C3D7BFB0-2FEE-42AE-8273-78D9586CAA0C}"/>
          </ac:spMkLst>
        </pc:spChg>
        <pc:picChg chg="mod">
          <ac:chgData name="Erick Moore" userId="96a732b2-26bb-45da-b8ee-37851dfdb22e" providerId="ADAL" clId="{A6768F3B-235C-4BDF-A79E-8DF5A2847A93}" dt="2021-06-17T19:54:04.717" v="2946" actId="14826"/>
          <ac:picMkLst>
            <pc:docMk/>
            <pc:sldMk cId="4161746958" sldId="2145705935"/>
            <ac:picMk id="18" creationId="{7BF654E5-24E6-4AE4-B4F3-0F4F0352DE8C}"/>
          </ac:picMkLst>
        </pc:picChg>
        <pc:cxnChg chg="add mod">
          <ac:chgData name="Erick Moore" userId="96a732b2-26bb-45da-b8ee-37851dfdb22e" providerId="ADAL" clId="{A6768F3B-235C-4BDF-A79E-8DF5A2847A93}" dt="2021-06-17T20:13:03.728" v="3409"/>
          <ac:cxnSpMkLst>
            <pc:docMk/>
            <pc:sldMk cId="4161746958" sldId="2145705935"/>
            <ac:cxnSpMk id="5" creationId="{0EAEF34D-2928-4B11-8C69-BEBEBEE91469}"/>
          </ac:cxnSpMkLst>
        </pc:cxnChg>
      </pc:sldChg>
      <pc:sldChg chg="addSp modSp add mod modAnim">
        <pc:chgData name="Erick Moore" userId="96a732b2-26bb-45da-b8ee-37851dfdb22e" providerId="ADAL" clId="{A6768F3B-235C-4BDF-A79E-8DF5A2847A93}" dt="2021-06-24T14:03:20.450" v="14116"/>
        <pc:sldMkLst>
          <pc:docMk/>
          <pc:sldMk cId="3361212018" sldId="2145705936"/>
        </pc:sldMkLst>
        <pc:spChg chg="mod">
          <ac:chgData name="Erick Moore" userId="96a732b2-26bb-45da-b8ee-37851dfdb22e" providerId="ADAL" clId="{A6768F3B-235C-4BDF-A79E-8DF5A2847A93}" dt="2021-06-17T21:17:53.206" v="5026" actId="20577"/>
          <ac:spMkLst>
            <pc:docMk/>
            <pc:sldMk cId="3361212018" sldId="2145705936"/>
            <ac:spMk id="17" creationId="{6C888C00-E318-43FB-A80C-54A8EA42D2C3}"/>
          </ac:spMkLst>
        </pc:spChg>
        <pc:spChg chg="mod">
          <ac:chgData name="Erick Moore" userId="96a732b2-26bb-45da-b8ee-37851dfdb22e" providerId="ADAL" clId="{A6768F3B-235C-4BDF-A79E-8DF5A2847A93}" dt="2021-06-17T19:55:41.339" v="3007" actId="20577"/>
          <ac:spMkLst>
            <pc:docMk/>
            <pc:sldMk cId="3361212018" sldId="2145705936"/>
            <ac:spMk id="27" creationId="{C3D7BFB0-2FEE-42AE-8273-78D9586CAA0C}"/>
          </ac:spMkLst>
        </pc:spChg>
        <pc:picChg chg="mod">
          <ac:chgData name="Erick Moore" userId="96a732b2-26bb-45da-b8ee-37851dfdb22e" providerId="ADAL" clId="{A6768F3B-235C-4BDF-A79E-8DF5A2847A93}" dt="2021-06-17T19:55:55.990" v="3008" actId="14826"/>
          <ac:picMkLst>
            <pc:docMk/>
            <pc:sldMk cId="3361212018" sldId="2145705936"/>
            <ac:picMk id="18" creationId="{7BF654E5-24E6-4AE4-B4F3-0F4F0352DE8C}"/>
          </ac:picMkLst>
        </pc:picChg>
        <pc:cxnChg chg="add mod">
          <ac:chgData name="Erick Moore" userId="96a732b2-26bb-45da-b8ee-37851dfdb22e" providerId="ADAL" clId="{A6768F3B-235C-4BDF-A79E-8DF5A2847A93}" dt="2021-06-17T20:13:06.073" v="3410"/>
          <ac:cxnSpMkLst>
            <pc:docMk/>
            <pc:sldMk cId="3361212018" sldId="2145705936"/>
            <ac:cxnSpMk id="5" creationId="{62FA55D1-6CE1-4E39-BF57-4263621DA6AD}"/>
          </ac:cxnSpMkLst>
        </pc:cxnChg>
      </pc:sldChg>
      <pc:sldChg chg="addSp delSp modSp mod modTransition modAnim modNotesTx">
        <pc:chgData name="Erick Moore" userId="96a732b2-26bb-45da-b8ee-37851dfdb22e" providerId="ADAL" clId="{A6768F3B-235C-4BDF-A79E-8DF5A2847A93}" dt="2021-06-24T14:06:18.173" v="14138"/>
        <pc:sldMkLst>
          <pc:docMk/>
          <pc:sldMk cId="2098457255" sldId="2145705937"/>
        </pc:sldMkLst>
        <pc:spChg chg="add mod">
          <ac:chgData name="Erick Moore" userId="96a732b2-26bb-45da-b8ee-37851dfdb22e" providerId="ADAL" clId="{A6768F3B-235C-4BDF-A79E-8DF5A2847A93}" dt="2021-06-17T21:08:54.759" v="4264" actId="20577"/>
          <ac:spMkLst>
            <pc:docMk/>
            <pc:sldMk cId="2098457255" sldId="2145705937"/>
            <ac:spMk id="16" creationId="{FBA75586-599E-45E1-A3E8-40E1594EB09E}"/>
          </ac:spMkLst>
        </pc:spChg>
        <pc:spChg chg="mod">
          <ac:chgData name="Erick Moore" userId="96a732b2-26bb-45da-b8ee-37851dfdb22e" providerId="ADAL" clId="{A6768F3B-235C-4BDF-A79E-8DF5A2847A93}" dt="2021-06-17T21:01:06.930" v="3880" actId="1076"/>
          <ac:spMkLst>
            <pc:docMk/>
            <pc:sldMk cId="2098457255" sldId="2145705937"/>
            <ac:spMk id="17" creationId="{6C888C00-E318-43FB-A80C-54A8EA42D2C3}"/>
          </ac:spMkLst>
        </pc:spChg>
        <pc:spChg chg="mod">
          <ac:chgData name="Erick Moore" userId="96a732b2-26bb-45da-b8ee-37851dfdb22e" providerId="ADAL" clId="{A6768F3B-235C-4BDF-A79E-8DF5A2847A93}" dt="2021-06-17T21:03:51.539" v="3993" actId="20577"/>
          <ac:spMkLst>
            <pc:docMk/>
            <pc:sldMk cId="2098457255" sldId="2145705937"/>
            <ac:spMk id="27" creationId="{C3D7BFB0-2FEE-42AE-8273-78D9586CAA0C}"/>
          </ac:spMkLst>
        </pc:spChg>
        <pc:spChg chg="mod">
          <ac:chgData name="Erick Moore" userId="96a732b2-26bb-45da-b8ee-37851dfdb22e" providerId="ADAL" clId="{A6768F3B-235C-4BDF-A79E-8DF5A2847A93}" dt="2021-06-17T21:01:23.791" v="3884" actId="14100"/>
          <ac:spMkLst>
            <pc:docMk/>
            <pc:sldMk cId="2098457255" sldId="2145705937"/>
            <ac:spMk id="28" creationId="{341B4838-6E5C-4EEB-B099-9F71B699AA18}"/>
          </ac:spMkLst>
        </pc:spChg>
        <pc:spChg chg="mod">
          <ac:chgData name="Erick Moore" userId="96a732b2-26bb-45da-b8ee-37851dfdb22e" providerId="ADAL" clId="{A6768F3B-235C-4BDF-A79E-8DF5A2847A93}" dt="2021-06-17T21:09:53.160" v="4319" actId="20577"/>
          <ac:spMkLst>
            <pc:docMk/>
            <pc:sldMk cId="2098457255" sldId="2145705937"/>
            <ac:spMk id="29" creationId="{929BEB5C-D9F8-409E-828E-0F6BF9776A57}"/>
          </ac:spMkLst>
        </pc:spChg>
        <pc:spChg chg="del">
          <ac:chgData name="Erick Moore" userId="96a732b2-26bb-45da-b8ee-37851dfdb22e" providerId="ADAL" clId="{A6768F3B-235C-4BDF-A79E-8DF5A2847A93}" dt="2021-06-17T21:06:02.557" v="4077" actId="478"/>
          <ac:spMkLst>
            <pc:docMk/>
            <pc:sldMk cId="2098457255" sldId="2145705937"/>
            <ac:spMk id="30" creationId="{CDD5805B-294B-4B3C-83ED-4CC0EE776FF7}"/>
          </ac:spMkLst>
        </pc:spChg>
        <pc:picChg chg="add del mod">
          <ac:chgData name="Erick Moore" userId="96a732b2-26bb-45da-b8ee-37851dfdb22e" providerId="ADAL" clId="{A6768F3B-235C-4BDF-A79E-8DF5A2847A93}" dt="2021-06-17T20:58:35.833" v="3802" actId="478"/>
          <ac:picMkLst>
            <pc:docMk/>
            <pc:sldMk cId="2098457255" sldId="2145705937"/>
            <ac:picMk id="3" creationId="{D623D4E4-90B3-4800-93CC-DEAEB8D05DA0}"/>
          </ac:picMkLst>
        </pc:picChg>
        <pc:picChg chg="add mod ord">
          <ac:chgData name="Erick Moore" userId="96a732b2-26bb-45da-b8ee-37851dfdb22e" providerId="ADAL" clId="{A6768F3B-235C-4BDF-A79E-8DF5A2847A93}" dt="2021-06-24T14:04:39.211" v="14121" actId="166"/>
          <ac:picMkLst>
            <pc:docMk/>
            <pc:sldMk cId="2098457255" sldId="2145705937"/>
            <ac:picMk id="5" creationId="{1A8C6AA9-9A84-4691-A3A4-D2040BAD10C5}"/>
          </ac:picMkLst>
        </pc:picChg>
        <pc:picChg chg="del">
          <ac:chgData name="Erick Moore" userId="96a732b2-26bb-45da-b8ee-37851dfdb22e" providerId="ADAL" clId="{A6768F3B-235C-4BDF-A79E-8DF5A2847A93}" dt="2021-06-17T20:59:33.254" v="3809" actId="478"/>
          <ac:picMkLst>
            <pc:docMk/>
            <pc:sldMk cId="2098457255" sldId="2145705937"/>
            <ac:picMk id="13" creationId="{15B9B34A-9EDB-4E45-B3C2-BEB4A432D7A3}"/>
          </ac:picMkLst>
        </pc:picChg>
        <pc:picChg chg="del">
          <ac:chgData name="Erick Moore" userId="96a732b2-26bb-45da-b8ee-37851dfdb22e" providerId="ADAL" clId="{A6768F3B-235C-4BDF-A79E-8DF5A2847A93}" dt="2021-06-17T20:59:34.394" v="3811" actId="478"/>
          <ac:picMkLst>
            <pc:docMk/>
            <pc:sldMk cId="2098457255" sldId="2145705937"/>
            <ac:picMk id="15" creationId="{02E73163-AA26-4EB5-96CF-406F69506D60}"/>
          </ac:picMkLst>
        </pc:picChg>
        <pc:picChg chg="del">
          <ac:chgData name="Erick Moore" userId="96a732b2-26bb-45da-b8ee-37851dfdb22e" providerId="ADAL" clId="{A6768F3B-235C-4BDF-A79E-8DF5A2847A93}" dt="2021-06-17T20:59:32.234" v="3808" actId="478"/>
          <ac:picMkLst>
            <pc:docMk/>
            <pc:sldMk cId="2098457255" sldId="2145705937"/>
            <ac:picMk id="18" creationId="{7BF654E5-24E6-4AE4-B4F3-0F4F0352DE8C}"/>
          </ac:picMkLst>
        </pc:picChg>
        <pc:picChg chg="del">
          <ac:chgData name="Erick Moore" userId="96a732b2-26bb-45da-b8ee-37851dfdb22e" providerId="ADAL" clId="{A6768F3B-235C-4BDF-A79E-8DF5A2847A93}" dt="2021-06-17T20:59:33.774" v="3810" actId="478"/>
          <ac:picMkLst>
            <pc:docMk/>
            <pc:sldMk cId="2098457255" sldId="2145705937"/>
            <ac:picMk id="20" creationId="{CC2D4EC7-4323-4ADC-9E6E-619459305C4C}"/>
          </ac:picMkLst>
        </pc:picChg>
        <pc:cxnChg chg="add mod">
          <ac:chgData name="Erick Moore" userId="96a732b2-26bb-45da-b8ee-37851dfdb22e" providerId="ADAL" clId="{A6768F3B-235C-4BDF-A79E-8DF5A2847A93}" dt="2021-06-24T14:04:30.626" v="14120" actId="14100"/>
          <ac:cxnSpMkLst>
            <pc:docMk/>
            <pc:sldMk cId="2098457255" sldId="2145705937"/>
            <ac:cxnSpMk id="11" creationId="{86908EB6-CC44-43CE-A03C-0DE0E0446BDA}"/>
          </ac:cxnSpMkLst>
        </pc:cxnChg>
        <pc:cxnChg chg="add mod">
          <ac:chgData name="Erick Moore" userId="96a732b2-26bb-45da-b8ee-37851dfdb22e" providerId="ADAL" clId="{A6768F3B-235C-4BDF-A79E-8DF5A2847A93}" dt="2021-06-24T14:04:23.487" v="14118" actId="14100"/>
          <ac:cxnSpMkLst>
            <pc:docMk/>
            <pc:sldMk cId="2098457255" sldId="2145705937"/>
            <ac:cxnSpMk id="19" creationId="{21E36A1E-80EB-45DF-A45E-3A3686BB803D}"/>
          </ac:cxnSpMkLst>
        </pc:cxnChg>
      </pc:sldChg>
      <pc:sldChg chg="addSp delSp modSp add mod modNotesTx">
        <pc:chgData name="Erick Moore" userId="96a732b2-26bb-45da-b8ee-37851dfdb22e" providerId="ADAL" clId="{A6768F3B-235C-4BDF-A79E-8DF5A2847A93}" dt="2021-06-24T14:07:38.972" v="14139" actId="21"/>
        <pc:sldMkLst>
          <pc:docMk/>
          <pc:sldMk cId="1275719691" sldId="2145705938"/>
        </pc:sldMkLst>
        <pc:spChg chg="add del mod">
          <ac:chgData name="Erick Moore" userId="96a732b2-26bb-45da-b8ee-37851dfdb22e" providerId="ADAL" clId="{A6768F3B-235C-4BDF-A79E-8DF5A2847A93}" dt="2021-06-18T12:14:57.749" v="5102" actId="478"/>
          <ac:spMkLst>
            <pc:docMk/>
            <pc:sldMk cId="1275719691" sldId="2145705938"/>
            <ac:spMk id="11" creationId="{E2A26C61-8F46-48DE-9790-273813B0E71C}"/>
          </ac:spMkLst>
        </pc:spChg>
        <pc:spChg chg="mod">
          <ac:chgData name="Erick Moore" userId="96a732b2-26bb-45da-b8ee-37851dfdb22e" providerId="ADAL" clId="{A6768F3B-235C-4BDF-A79E-8DF5A2847A93}" dt="2021-06-18T12:17:18.879" v="5117" actId="1076"/>
          <ac:spMkLst>
            <pc:docMk/>
            <pc:sldMk cId="1275719691" sldId="2145705938"/>
            <ac:spMk id="16" creationId="{FBA75586-599E-45E1-A3E8-40E1594EB09E}"/>
          </ac:spMkLst>
        </pc:spChg>
        <pc:spChg chg="del">
          <ac:chgData name="Erick Moore" userId="96a732b2-26bb-45da-b8ee-37851dfdb22e" providerId="ADAL" clId="{A6768F3B-235C-4BDF-A79E-8DF5A2847A93}" dt="2021-06-18T12:13:02.683" v="5067" actId="478"/>
          <ac:spMkLst>
            <pc:docMk/>
            <pc:sldMk cId="1275719691" sldId="2145705938"/>
            <ac:spMk id="17" creationId="{6C888C00-E318-43FB-A80C-54A8EA42D2C3}"/>
          </ac:spMkLst>
        </pc:spChg>
        <pc:spChg chg="mod">
          <ac:chgData name="Erick Moore" userId="96a732b2-26bb-45da-b8ee-37851dfdb22e" providerId="ADAL" clId="{A6768F3B-235C-4BDF-A79E-8DF5A2847A93}" dt="2021-06-18T12:13:26.995" v="5076" actId="20577"/>
          <ac:spMkLst>
            <pc:docMk/>
            <pc:sldMk cId="1275719691" sldId="2145705938"/>
            <ac:spMk id="27" creationId="{C3D7BFB0-2FEE-42AE-8273-78D9586CAA0C}"/>
          </ac:spMkLst>
        </pc:spChg>
        <pc:spChg chg="del mod">
          <ac:chgData name="Erick Moore" userId="96a732b2-26bb-45da-b8ee-37851dfdb22e" providerId="ADAL" clId="{A6768F3B-235C-4BDF-A79E-8DF5A2847A93}" dt="2021-06-18T12:13:30.148" v="5077" actId="478"/>
          <ac:spMkLst>
            <pc:docMk/>
            <pc:sldMk cId="1275719691" sldId="2145705938"/>
            <ac:spMk id="28" creationId="{341B4838-6E5C-4EEB-B099-9F71B699AA18}"/>
          </ac:spMkLst>
        </pc:spChg>
        <pc:spChg chg="del mod">
          <ac:chgData name="Erick Moore" userId="96a732b2-26bb-45da-b8ee-37851dfdb22e" providerId="ADAL" clId="{A6768F3B-235C-4BDF-A79E-8DF5A2847A93}" dt="2021-06-18T12:13:07.062" v="5069" actId="478"/>
          <ac:spMkLst>
            <pc:docMk/>
            <pc:sldMk cId="1275719691" sldId="2145705938"/>
            <ac:spMk id="29" creationId="{929BEB5C-D9F8-409E-828E-0F6BF9776A57}"/>
          </ac:spMkLst>
        </pc:spChg>
        <pc:graphicFrameChg chg="add del mod modGraphic">
          <ac:chgData name="Erick Moore" userId="96a732b2-26bb-45da-b8ee-37851dfdb22e" providerId="ADAL" clId="{A6768F3B-235C-4BDF-A79E-8DF5A2847A93}" dt="2021-06-18T12:19:19.366" v="5405" actId="403"/>
          <ac:graphicFrameMkLst>
            <pc:docMk/>
            <pc:sldMk cId="1275719691" sldId="2145705938"/>
            <ac:graphicFrameMk id="3" creationId="{574E80A3-860D-4A12-B7C0-EB68A405BCA6}"/>
          </ac:graphicFrameMkLst>
        </pc:graphicFrameChg>
        <pc:picChg chg="mod">
          <ac:chgData name="Erick Moore" userId="96a732b2-26bb-45da-b8ee-37851dfdb22e" providerId="ADAL" clId="{A6768F3B-235C-4BDF-A79E-8DF5A2847A93}" dt="2021-06-18T12:13:22.241" v="5072" actId="1076"/>
          <ac:picMkLst>
            <pc:docMk/>
            <pc:sldMk cId="1275719691" sldId="2145705938"/>
            <ac:picMk id="5" creationId="{1A8C6AA9-9A84-4691-A3A4-D2040BAD10C5}"/>
          </ac:picMkLst>
        </pc:picChg>
        <pc:cxnChg chg="del mod">
          <ac:chgData name="Erick Moore" userId="96a732b2-26bb-45da-b8ee-37851dfdb22e" providerId="ADAL" clId="{A6768F3B-235C-4BDF-A79E-8DF5A2847A93}" dt="2021-06-18T12:13:31.430" v="5078" actId="478"/>
          <ac:cxnSpMkLst>
            <pc:docMk/>
            <pc:sldMk cId="1275719691" sldId="2145705938"/>
            <ac:cxnSpMk id="19" creationId="{21E36A1E-80EB-45DF-A45E-3A3686BB803D}"/>
          </ac:cxnSpMkLst>
        </pc:cxnChg>
        <pc:cxnChg chg="del">
          <ac:chgData name="Erick Moore" userId="96a732b2-26bb-45da-b8ee-37851dfdb22e" providerId="ADAL" clId="{A6768F3B-235C-4BDF-A79E-8DF5A2847A93}" dt="2021-06-24T14:07:38.972" v="14139" actId="21"/>
          <ac:cxnSpMkLst>
            <pc:docMk/>
            <pc:sldMk cId="1275719691" sldId="2145705938"/>
            <ac:cxnSpMk id="22" creationId="{64B18E2D-5F41-4722-8964-B87F1B93A77A}"/>
          </ac:cxnSpMkLst>
        </pc:cxnChg>
      </pc:sldChg>
      <pc:sldChg chg="addSp delSp modSp add mod modTransition modAnim modNotesTx">
        <pc:chgData name="Erick Moore" userId="96a732b2-26bb-45da-b8ee-37851dfdb22e" providerId="ADAL" clId="{A6768F3B-235C-4BDF-A79E-8DF5A2847A93}" dt="2021-07-06T15:40:26.160" v="16953" actId="20577"/>
        <pc:sldMkLst>
          <pc:docMk/>
          <pc:sldMk cId="645501948" sldId="2145705939"/>
        </pc:sldMkLst>
        <pc:spChg chg="add mod">
          <ac:chgData name="Erick Moore" userId="96a732b2-26bb-45da-b8ee-37851dfdb22e" providerId="ADAL" clId="{A6768F3B-235C-4BDF-A79E-8DF5A2847A93}" dt="2021-06-18T12:56:06.831" v="5495" actId="403"/>
          <ac:spMkLst>
            <pc:docMk/>
            <pc:sldMk cId="645501948" sldId="2145705939"/>
            <ac:spMk id="11" creationId="{C75FED9E-A8FC-465B-8B84-6DB4F4ABCEF0}"/>
          </ac:spMkLst>
        </pc:spChg>
        <pc:spChg chg="add mod">
          <ac:chgData name="Erick Moore" userId="96a732b2-26bb-45da-b8ee-37851dfdb22e" providerId="ADAL" clId="{A6768F3B-235C-4BDF-A79E-8DF5A2847A93}" dt="2021-06-18T12:56:10.062" v="5497" actId="403"/>
          <ac:spMkLst>
            <pc:docMk/>
            <pc:sldMk cId="645501948" sldId="2145705939"/>
            <ac:spMk id="12" creationId="{27DD116C-4244-4493-ADB8-FFDCD0000321}"/>
          </ac:spMkLst>
        </pc:spChg>
        <pc:spChg chg="add mod">
          <ac:chgData name="Erick Moore" userId="96a732b2-26bb-45da-b8ee-37851dfdb22e" providerId="ADAL" clId="{A6768F3B-235C-4BDF-A79E-8DF5A2847A93}" dt="2021-06-23T15:08:29.825" v="10072" actId="20577"/>
          <ac:spMkLst>
            <pc:docMk/>
            <pc:sldMk cId="645501948" sldId="2145705939"/>
            <ac:spMk id="13" creationId="{48C1CFD8-0893-43F3-82AB-BF090ECDAA84}"/>
          </ac:spMkLst>
        </pc:spChg>
        <pc:spChg chg="add mod">
          <ac:chgData name="Erick Moore" userId="96a732b2-26bb-45da-b8ee-37851dfdb22e" providerId="ADAL" clId="{A6768F3B-235C-4BDF-A79E-8DF5A2847A93}" dt="2021-06-23T15:08:16.476" v="10050" actId="20577"/>
          <ac:spMkLst>
            <pc:docMk/>
            <pc:sldMk cId="645501948" sldId="2145705939"/>
            <ac:spMk id="14" creationId="{57556266-50B7-41C6-B147-DCA29D10C2AC}"/>
          </ac:spMkLst>
        </pc:spChg>
        <pc:spChg chg="del">
          <ac:chgData name="Erick Moore" userId="96a732b2-26bb-45da-b8ee-37851dfdb22e" providerId="ADAL" clId="{A6768F3B-235C-4BDF-A79E-8DF5A2847A93}" dt="2021-06-18T12:45:12.475" v="5412" actId="478"/>
          <ac:spMkLst>
            <pc:docMk/>
            <pc:sldMk cId="645501948" sldId="2145705939"/>
            <ac:spMk id="16" creationId="{FBA75586-599E-45E1-A3E8-40E1594EB09E}"/>
          </ac:spMkLst>
        </pc:spChg>
        <pc:spChg chg="mod">
          <ac:chgData name="Erick Moore" userId="96a732b2-26bb-45da-b8ee-37851dfdb22e" providerId="ADAL" clId="{A6768F3B-235C-4BDF-A79E-8DF5A2847A93}" dt="2021-06-18T12:54:56.935" v="5461" actId="20577"/>
          <ac:spMkLst>
            <pc:docMk/>
            <pc:sldMk cId="645501948" sldId="2145705939"/>
            <ac:spMk id="27" creationId="{C3D7BFB0-2FEE-42AE-8273-78D9586CAA0C}"/>
          </ac:spMkLst>
        </pc:spChg>
        <pc:graphicFrameChg chg="del">
          <ac:chgData name="Erick Moore" userId="96a732b2-26bb-45da-b8ee-37851dfdb22e" providerId="ADAL" clId="{A6768F3B-235C-4BDF-A79E-8DF5A2847A93}" dt="2021-06-18T12:45:10.118" v="5411" actId="478"/>
          <ac:graphicFrameMkLst>
            <pc:docMk/>
            <pc:sldMk cId="645501948" sldId="2145705939"/>
            <ac:graphicFrameMk id="3" creationId="{574E80A3-860D-4A12-B7C0-EB68A405BCA6}"/>
          </ac:graphicFrameMkLst>
        </pc:graphicFrameChg>
        <pc:picChg chg="add del mod">
          <ac:chgData name="Erick Moore" userId="96a732b2-26bb-45da-b8ee-37851dfdb22e" providerId="ADAL" clId="{A6768F3B-235C-4BDF-A79E-8DF5A2847A93}" dt="2021-06-18T12:55:12.416" v="5463" actId="478"/>
          <ac:picMkLst>
            <pc:docMk/>
            <pc:sldMk cId="645501948" sldId="2145705939"/>
            <ac:picMk id="4" creationId="{650FC1DB-ABB8-4999-8CDB-30E53F13B7A1}"/>
          </ac:picMkLst>
        </pc:picChg>
        <pc:picChg chg="del">
          <ac:chgData name="Erick Moore" userId="96a732b2-26bb-45da-b8ee-37851dfdb22e" providerId="ADAL" clId="{A6768F3B-235C-4BDF-A79E-8DF5A2847A93}" dt="2021-06-18T12:53:35.938" v="5420" actId="478"/>
          <ac:picMkLst>
            <pc:docMk/>
            <pc:sldMk cId="645501948" sldId="2145705939"/>
            <ac:picMk id="5" creationId="{1A8C6AA9-9A84-4691-A3A4-D2040BAD10C5}"/>
          </ac:picMkLst>
        </pc:picChg>
        <pc:picChg chg="add del mod">
          <ac:chgData name="Erick Moore" userId="96a732b2-26bb-45da-b8ee-37851dfdb22e" providerId="ADAL" clId="{A6768F3B-235C-4BDF-A79E-8DF5A2847A93}" dt="2021-06-18T12:55:12.416" v="5463" actId="478"/>
          <ac:picMkLst>
            <pc:docMk/>
            <pc:sldMk cId="645501948" sldId="2145705939"/>
            <ac:picMk id="9" creationId="{1EDC2A69-5154-48E1-BAF7-B7D1DD348279}"/>
          </ac:picMkLst>
        </pc:picChg>
        <pc:picChg chg="add del mod">
          <ac:chgData name="Erick Moore" userId="96a732b2-26bb-45da-b8ee-37851dfdb22e" providerId="ADAL" clId="{A6768F3B-235C-4BDF-A79E-8DF5A2847A93}" dt="2021-06-18T12:55:12.416" v="5463" actId="478"/>
          <ac:picMkLst>
            <pc:docMk/>
            <pc:sldMk cId="645501948" sldId="2145705939"/>
            <ac:picMk id="10" creationId="{4556E43A-6EA8-44B8-9E70-6B28F02470C9}"/>
          </ac:picMkLst>
        </pc:picChg>
        <pc:cxnChg chg="add del">
          <ac:chgData name="Erick Moore" userId="96a732b2-26bb-45da-b8ee-37851dfdb22e" providerId="ADAL" clId="{A6768F3B-235C-4BDF-A79E-8DF5A2847A93}" dt="2021-06-18T19:01:29.332" v="8260" actId="478"/>
          <ac:cxnSpMkLst>
            <pc:docMk/>
            <pc:sldMk cId="645501948" sldId="2145705939"/>
            <ac:cxnSpMk id="22" creationId="{64B18E2D-5F41-4722-8964-B87F1B93A77A}"/>
          </ac:cxnSpMkLst>
        </pc:cxnChg>
      </pc:sldChg>
      <pc:sldChg chg="addSp delSp modSp add mod modTransition modNotesTx">
        <pc:chgData name="Erick Moore" userId="96a732b2-26bb-45da-b8ee-37851dfdb22e" providerId="ADAL" clId="{A6768F3B-235C-4BDF-A79E-8DF5A2847A93}" dt="2021-06-24T14:09:39.900" v="14174" actId="20577"/>
        <pc:sldMkLst>
          <pc:docMk/>
          <pc:sldMk cId="3186783452" sldId="2145705940"/>
        </pc:sldMkLst>
        <pc:spChg chg="add mod">
          <ac:chgData name="Erick Moore" userId="96a732b2-26bb-45da-b8ee-37851dfdb22e" providerId="ADAL" clId="{A6768F3B-235C-4BDF-A79E-8DF5A2847A93}" dt="2021-06-18T15:20:17.748" v="6613" actId="1076"/>
          <ac:spMkLst>
            <pc:docMk/>
            <pc:sldMk cId="3186783452" sldId="2145705940"/>
            <ac:spMk id="12" creationId="{D4A4B365-969C-4E07-B3F3-051EC04D6D66}"/>
          </ac:spMkLst>
        </pc:spChg>
        <pc:spChg chg="add mod">
          <ac:chgData name="Erick Moore" userId="96a732b2-26bb-45da-b8ee-37851dfdb22e" providerId="ADAL" clId="{A6768F3B-235C-4BDF-A79E-8DF5A2847A93}" dt="2021-06-18T15:20:17.748" v="6613" actId="1076"/>
          <ac:spMkLst>
            <pc:docMk/>
            <pc:sldMk cId="3186783452" sldId="2145705940"/>
            <ac:spMk id="13" creationId="{9842D80A-03D5-4CBC-9D42-827B49129289}"/>
          </ac:spMkLst>
        </pc:spChg>
        <pc:spChg chg="add mod">
          <ac:chgData name="Erick Moore" userId="96a732b2-26bb-45da-b8ee-37851dfdb22e" providerId="ADAL" clId="{A6768F3B-235C-4BDF-A79E-8DF5A2847A93}" dt="2021-06-18T15:20:17.748" v="6613" actId="1076"/>
          <ac:spMkLst>
            <pc:docMk/>
            <pc:sldMk cId="3186783452" sldId="2145705940"/>
            <ac:spMk id="14" creationId="{88DE1766-3CBA-4F96-84CE-06F3F312819B}"/>
          </ac:spMkLst>
        </pc:spChg>
        <pc:spChg chg="add mod">
          <ac:chgData name="Erick Moore" userId="96a732b2-26bb-45da-b8ee-37851dfdb22e" providerId="ADAL" clId="{A6768F3B-235C-4BDF-A79E-8DF5A2847A93}" dt="2021-06-18T15:20:17.748" v="6613" actId="1076"/>
          <ac:spMkLst>
            <pc:docMk/>
            <pc:sldMk cId="3186783452" sldId="2145705940"/>
            <ac:spMk id="18" creationId="{EB85DA7D-C197-423C-A741-CF66476708BA}"/>
          </ac:spMkLst>
        </pc:spChg>
        <pc:spChg chg="add mod">
          <ac:chgData name="Erick Moore" userId="96a732b2-26bb-45da-b8ee-37851dfdb22e" providerId="ADAL" clId="{A6768F3B-235C-4BDF-A79E-8DF5A2847A93}" dt="2021-06-18T15:20:17.748" v="6613" actId="1076"/>
          <ac:spMkLst>
            <pc:docMk/>
            <pc:sldMk cId="3186783452" sldId="2145705940"/>
            <ac:spMk id="20" creationId="{7417BA9B-2AEB-43CB-8520-2C589DFEE178}"/>
          </ac:spMkLst>
        </pc:spChg>
        <pc:spChg chg="mod">
          <ac:chgData name="Erick Moore" userId="96a732b2-26bb-45da-b8ee-37851dfdb22e" providerId="ADAL" clId="{A6768F3B-235C-4BDF-A79E-8DF5A2847A93}" dt="2021-06-22T13:19:23.503" v="9562" actId="20577"/>
          <ac:spMkLst>
            <pc:docMk/>
            <pc:sldMk cId="3186783452" sldId="2145705940"/>
            <ac:spMk id="27" creationId="{C3D7BFB0-2FEE-42AE-8273-78D9586CAA0C}"/>
          </ac:spMkLst>
        </pc:spChg>
        <pc:spChg chg="add mod">
          <ac:chgData name="Erick Moore" userId="96a732b2-26bb-45da-b8ee-37851dfdb22e" providerId="ADAL" clId="{A6768F3B-235C-4BDF-A79E-8DF5A2847A93}" dt="2021-06-18T15:43:31.176" v="7343" actId="1076"/>
          <ac:spMkLst>
            <pc:docMk/>
            <pc:sldMk cId="3186783452" sldId="2145705940"/>
            <ac:spMk id="28" creationId="{F96A5723-82EF-406F-B172-1B591C911480}"/>
          </ac:spMkLst>
        </pc:spChg>
        <pc:spChg chg="add del mod">
          <ac:chgData name="Erick Moore" userId="96a732b2-26bb-45da-b8ee-37851dfdb22e" providerId="ADAL" clId="{A6768F3B-235C-4BDF-A79E-8DF5A2847A93}" dt="2021-06-18T15:18:00.317" v="6584" actId="478"/>
          <ac:spMkLst>
            <pc:docMk/>
            <pc:sldMk cId="3186783452" sldId="2145705940"/>
            <ac:spMk id="31" creationId="{012BAC10-E791-4DF6-993A-6BDC18F5F7EF}"/>
          </ac:spMkLst>
        </pc:spChg>
        <pc:spChg chg="add mod">
          <ac:chgData name="Erick Moore" userId="96a732b2-26bb-45da-b8ee-37851dfdb22e" providerId="ADAL" clId="{A6768F3B-235C-4BDF-A79E-8DF5A2847A93}" dt="2021-06-18T15:25:00.192" v="6660" actId="207"/>
          <ac:spMkLst>
            <pc:docMk/>
            <pc:sldMk cId="3186783452" sldId="2145705940"/>
            <ac:spMk id="37" creationId="{8B76ED04-4E0C-470E-BC62-A3D85B0C87B0}"/>
          </ac:spMkLst>
        </pc:spChg>
        <pc:spChg chg="add del mod">
          <ac:chgData name="Erick Moore" userId="96a732b2-26bb-45da-b8ee-37851dfdb22e" providerId="ADAL" clId="{A6768F3B-235C-4BDF-A79E-8DF5A2847A93}" dt="2021-06-18T15:15:11.536" v="6554" actId="478"/>
          <ac:spMkLst>
            <pc:docMk/>
            <pc:sldMk cId="3186783452" sldId="2145705940"/>
            <ac:spMk id="38" creationId="{09C1B746-56DC-4ACC-AB6D-DFA43C199247}"/>
          </ac:spMkLst>
        </pc:spChg>
        <pc:spChg chg="add del mod">
          <ac:chgData name="Erick Moore" userId="96a732b2-26bb-45da-b8ee-37851dfdb22e" providerId="ADAL" clId="{A6768F3B-235C-4BDF-A79E-8DF5A2847A93}" dt="2021-06-18T15:12:09.929" v="6504" actId="478"/>
          <ac:spMkLst>
            <pc:docMk/>
            <pc:sldMk cId="3186783452" sldId="2145705940"/>
            <ac:spMk id="39" creationId="{F0C75699-355E-48CD-988E-EAFED268ED3E}"/>
          </ac:spMkLst>
        </pc:spChg>
        <pc:spChg chg="add mod">
          <ac:chgData name="Erick Moore" userId="96a732b2-26bb-45da-b8ee-37851dfdb22e" providerId="ADAL" clId="{A6768F3B-235C-4BDF-A79E-8DF5A2847A93}" dt="2021-06-18T15:29:59.095" v="6704" actId="1076"/>
          <ac:spMkLst>
            <pc:docMk/>
            <pc:sldMk cId="3186783452" sldId="2145705940"/>
            <ac:spMk id="56" creationId="{A8E817D7-122B-467A-AC1C-E84BABA88765}"/>
          </ac:spMkLst>
        </pc:spChg>
        <pc:spChg chg="add del mod">
          <ac:chgData name="Erick Moore" userId="96a732b2-26bb-45da-b8ee-37851dfdb22e" providerId="ADAL" clId="{A6768F3B-235C-4BDF-A79E-8DF5A2847A93}" dt="2021-06-18T15:06:17.412" v="6353" actId="478"/>
          <ac:spMkLst>
            <pc:docMk/>
            <pc:sldMk cId="3186783452" sldId="2145705940"/>
            <ac:spMk id="57" creationId="{60327E0B-0BEE-43B4-8100-66E8FECE9891}"/>
          </ac:spMkLst>
        </pc:spChg>
        <pc:spChg chg="add mod">
          <ac:chgData name="Erick Moore" userId="96a732b2-26bb-45da-b8ee-37851dfdb22e" providerId="ADAL" clId="{A6768F3B-235C-4BDF-A79E-8DF5A2847A93}" dt="2021-06-18T15:20:25.027" v="6614" actId="1076"/>
          <ac:spMkLst>
            <pc:docMk/>
            <pc:sldMk cId="3186783452" sldId="2145705940"/>
            <ac:spMk id="65" creationId="{4AC47D64-5044-4248-A761-7F7DC896630F}"/>
          </ac:spMkLst>
        </pc:spChg>
        <pc:spChg chg="add del mod">
          <ac:chgData name="Erick Moore" userId="96a732b2-26bb-45da-b8ee-37851dfdb22e" providerId="ADAL" clId="{A6768F3B-235C-4BDF-A79E-8DF5A2847A93}" dt="2021-06-18T15:12:11.264" v="6505" actId="478"/>
          <ac:spMkLst>
            <pc:docMk/>
            <pc:sldMk cId="3186783452" sldId="2145705940"/>
            <ac:spMk id="66" creationId="{8B203865-5413-4D1F-9435-5D052EB8469C}"/>
          </ac:spMkLst>
        </pc:spChg>
        <pc:spChg chg="mod">
          <ac:chgData name="Erick Moore" userId="96a732b2-26bb-45da-b8ee-37851dfdb22e" providerId="ADAL" clId="{A6768F3B-235C-4BDF-A79E-8DF5A2847A93}" dt="2021-06-18T15:26:14.096" v="6663" actId="207"/>
          <ac:spMkLst>
            <pc:docMk/>
            <pc:sldMk cId="3186783452" sldId="2145705940"/>
            <ac:spMk id="70" creationId="{A59509B6-1F00-4E96-902C-6C4502F34395}"/>
          </ac:spMkLst>
        </pc:spChg>
        <pc:spChg chg="mod">
          <ac:chgData name="Erick Moore" userId="96a732b2-26bb-45da-b8ee-37851dfdb22e" providerId="ADAL" clId="{A6768F3B-235C-4BDF-A79E-8DF5A2847A93}" dt="2021-06-18T15:08:06.388" v="6430" actId="20577"/>
          <ac:spMkLst>
            <pc:docMk/>
            <pc:sldMk cId="3186783452" sldId="2145705940"/>
            <ac:spMk id="73" creationId="{ED4A94FD-88E4-4C48-9EB5-E50F0FF2FA2F}"/>
          </ac:spMkLst>
        </pc:spChg>
        <pc:spChg chg="add mod">
          <ac:chgData name="Erick Moore" userId="96a732b2-26bb-45da-b8ee-37851dfdb22e" providerId="ADAL" clId="{A6768F3B-235C-4BDF-A79E-8DF5A2847A93}" dt="2021-06-18T15:20:25.027" v="6614" actId="1076"/>
          <ac:spMkLst>
            <pc:docMk/>
            <pc:sldMk cId="3186783452" sldId="2145705940"/>
            <ac:spMk id="78" creationId="{50E29A94-B2E5-44C3-9D60-14C191BBE55F}"/>
          </ac:spMkLst>
        </pc:spChg>
        <pc:spChg chg="add mod">
          <ac:chgData name="Erick Moore" userId="96a732b2-26bb-45da-b8ee-37851dfdb22e" providerId="ADAL" clId="{A6768F3B-235C-4BDF-A79E-8DF5A2847A93}" dt="2021-06-18T15:20:25.027" v="6614" actId="1076"/>
          <ac:spMkLst>
            <pc:docMk/>
            <pc:sldMk cId="3186783452" sldId="2145705940"/>
            <ac:spMk id="79" creationId="{9654B180-1802-4B13-8BFD-6E1B0EBA07E8}"/>
          </ac:spMkLst>
        </pc:spChg>
        <pc:spChg chg="add mod">
          <ac:chgData name="Erick Moore" userId="96a732b2-26bb-45da-b8ee-37851dfdb22e" providerId="ADAL" clId="{A6768F3B-235C-4BDF-A79E-8DF5A2847A93}" dt="2021-06-24T14:09:39.900" v="14174" actId="20577"/>
          <ac:spMkLst>
            <pc:docMk/>
            <pc:sldMk cId="3186783452" sldId="2145705940"/>
            <ac:spMk id="80" creationId="{0DFBB600-612E-4C68-BABC-6A88A79D1923}"/>
          </ac:spMkLst>
        </pc:spChg>
        <pc:spChg chg="add mod">
          <ac:chgData name="Erick Moore" userId="96a732b2-26bb-45da-b8ee-37851dfdb22e" providerId="ADAL" clId="{A6768F3B-235C-4BDF-A79E-8DF5A2847A93}" dt="2021-06-18T15:32:35.937" v="6715" actId="14100"/>
          <ac:spMkLst>
            <pc:docMk/>
            <pc:sldMk cId="3186783452" sldId="2145705940"/>
            <ac:spMk id="127" creationId="{B0362FBD-F599-4D9B-927A-94E231B6E330}"/>
          </ac:spMkLst>
        </pc:spChg>
        <pc:grpChg chg="add mod">
          <ac:chgData name="Erick Moore" userId="96a732b2-26bb-45da-b8ee-37851dfdb22e" providerId="ADAL" clId="{A6768F3B-235C-4BDF-A79E-8DF5A2847A93}" dt="2021-06-18T15:18:08.294" v="6585" actId="1076"/>
          <ac:grpSpMkLst>
            <pc:docMk/>
            <pc:sldMk cId="3186783452" sldId="2145705940"/>
            <ac:grpSpMk id="67" creationId="{2A4A57E5-F1B8-4619-893B-7C19FCD9CA8C}"/>
          </ac:grpSpMkLst>
        </pc:grpChg>
        <pc:grpChg chg="add mod">
          <ac:chgData name="Erick Moore" userId="96a732b2-26bb-45da-b8ee-37851dfdb22e" providerId="ADAL" clId="{A6768F3B-235C-4BDF-A79E-8DF5A2847A93}" dt="2021-06-18T15:18:08.294" v="6585" actId="1076"/>
          <ac:grpSpMkLst>
            <pc:docMk/>
            <pc:sldMk cId="3186783452" sldId="2145705940"/>
            <ac:grpSpMk id="68" creationId="{CB1C77F3-4C76-46EC-9495-08132B8C528D}"/>
          </ac:grpSpMkLst>
        </pc:grpChg>
        <pc:grpChg chg="add mod">
          <ac:chgData name="Erick Moore" userId="96a732b2-26bb-45da-b8ee-37851dfdb22e" providerId="ADAL" clId="{A6768F3B-235C-4BDF-A79E-8DF5A2847A93}" dt="2021-06-18T15:18:08.294" v="6585" actId="1076"/>
          <ac:grpSpMkLst>
            <pc:docMk/>
            <pc:sldMk cId="3186783452" sldId="2145705940"/>
            <ac:grpSpMk id="71" creationId="{E8F7E6DD-2610-469C-A3F6-A9D7652F5F52}"/>
          </ac:grpSpMkLst>
        </pc:grpChg>
        <pc:picChg chg="mod">
          <ac:chgData name="Erick Moore" userId="96a732b2-26bb-45da-b8ee-37851dfdb22e" providerId="ADAL" clId="{A6768F3B-235C-4BDF-A79E-8DF5A2847A93}" dt="2021-06-18T15:20:17.748" v="6613" actId="1076"/>
          <ac:picMkLst>
            <pc:docMk/>
            <pc:sldMk cId="3186783452" sldId="2145705940"/>
            <ac:picMk id="4" creationId="{650FC1DB-ABB8-4999-8CDB-30E53F13B7A1}"/>
          </ac:picMkLst>
        </pc:picChg>
        <pc:picChg chg="add mod">
          <ac:chgData name="Erick Moore" userId="96a732b2-26bb-45da-b8ee-37851dfdb22e" providerId="ADAL" clId="{A6768F3B-235C-4BDF-A79E-8DF5A2847A93}" dt="2021-06-18T15:20:17.748" v="6613" actId="1076"/>
          <ac:picMkLst>
            <pc:docMk/>
            <pc:sldMk cId="3186783452" sldId="2145705940"/>
            <ac:picMk id="8" creationId="{4C74D349-ABBE-4F05-AC49-9B8C3E418E8C}"/>
          </ac:picMkLst>
        </pc:picChg>
        <pc:picChg chg="mod">
          <ac:chgData name="Erick Moore" userId="96a732b2-26bb-45da-b8ee-37851dfdb22e" providerId="ADAL" clId="{A6768F3B-235C-4BDF-A79E-8DF5A2847A93}" dt="2021-06-18T15:20:17.748" v="6613" actId="1076"/>
          <ac:picMkLst>
            <pc:docMk/>
            <pc:sldMk cId="3186783452" sldId="2145705940"/>
            <ac:picMk id="9" creationId="{1EDC2A69-5154-48E1-BAF7-B7D1DD348279}"/>
          </ac:picMkLst>
        </pc:picChg>
        <pc:picChg chg="mod">
          <ac:chgData name="Erick Moore" userId="96a732b2-26bb-45da-b8ee-37851dfdb22e" providerId="ADAL" clId="{A6768F3B-235C-4BDF-A79E-8DF5A2847A93}" dt="2021-06-18T15:20:17.748" v="6613" actId="1076"/>
          <ac:picMkLst>
            <pc:docMk/>
            <pc:sldMk cId="3186783452" sldId="2145705940"/>
            <ac:picMk id="10" creationId="{4556E43A-6EA8-44B8-9E70-6B28F02470C9}"/>
          </ac:picMkLst>
        </pc:picChg>
        <pc:picChg chg="add mod">
          <ac:chgData name="Erick Moore" userId="96a732b2-26bb-45da-b8ee-37851dfdb22e" providerId="ADAL" clId="{A6768F3B-235C-4BDF-A79E-8DF5A2847A93}" dt="2021-06-18T15:20:17.748" v="6613" actId="1076"/>
          <ac:picMkLst>
            <pc:docMk/>
            <pc:sldMk cId="3186783452" sldId="2145705940"/>
            <ac:picMk id="17" creationId="{13471EAA-0828-48AB-995E-FE0D69B76DA0}"/>
          </ac:picMkLst>
        </pc:picChg>
        <pc:picChg chg="add mod">
          <ac:chgData name="Erick Moore" userId="96a732b2-26bb-45da-b8ee-37851dfdb22e" providerId="ADAL" clId="{A6768F3B-235C-4BDF-A79E-8DF5A2847A93}" dt="2021-06-18T15:20:17.748" v="6613" actId="1076"/>
          <ac:picMkLst>
            <pc:docMk/>
            <pc:sldMk cId="3186783452" sldId="2145705940"/>
            <ac:picMk id="19" creationId="{2D9E7E1C-B41D-4C7F-966D-DED6F7C9FAF2}"/>
          </ac:picMkLst>
        </pc:picChg>
        <pc:picChg chg="add del mod">
          <ac:chgData name="Erick Moore" userId="96a732b2-26bb-45da-b8ee-37851dfdb22e" providerId="ADAL" clId="{A6768F3B-235C-4BDF-A79E-8DF5A2847A93}" dt="2021-06-18T15:03:09.575" v="6275" actId="478"/>
          <ac:picMkLst>
            <pc:docMk/>
            <pc:sldMk cId="3186783452" sldId="2145705940"/>
            <ac:picMk id="30" creationId="{05B9B384-6055-42FF-AD86-F07206BA84CA}"/>
          </ac:picMkLst>
        </pc:picChg>
        <pc:picChg chg="add mod">
          <ac:chgData name="Erick Moore" userId="96a732b2-26bb-45da-b8ee-37851dfdb22e" providerId="ADAL" clId="{A6768F3B-235C-4BDF-A79E-8DF5A2847A93}" dt="2021-06-18T15:07:45.272" v="6411" actId="164"/>
          <ac:picMkLst>
            <pc:docMk/>
            <pc:sldMk cId="3186783452" sldId="2145705940"/>
            <ac:picMk id="32" creationId="{7EF3D857-F316-4643-9717-1DCA5DFE9670}"/>
          </ac:picMkLst>
        </pc:picChg>
        <pc:picChg chg="add mod">
          <ac:chgData name="Erick Moore" userId="96a732b2-26bb-45da-b8ee-37851dfdb22e" providerId="ADAL" clId="{A6768F3B-235C-4BDF-A79E-8DF5A2847A93}" dt="2021-06-24T11:25:56.340" v="10817" actId="1076"/>
          <ac:picMkLst>
            <pc:docMk/>
            <pc:sldMk cId="3186783452" sldId="2145705940"/>
            <ac:picMk id="46" creationId="{4CF59256-1816-43E4-9CDC-2FE22D21CEDA}"/>
          </ac:picMkLst>
        </pc:picChg>
        <pc:picChg chg="add del mod">
          <ac:chgData name="Erick Moore" userId="96a732b2-26bb-45da-b8ee-37851dfdb22e" providerId="ADAL" clId="{A6768F3B-235C-4BDF-A79E-8DF5A2847A93}" dt="2021-06-18T15:13:45.306" v="6535" actId="478"/>
          <ac:picMkLst>
            <pc:docMk/>
            <pc:sldMk cId="3186783452" sldId="2145705940"/>
            <ac:picMk id="55" creationId="{0311A265-D4C3-4E28-B32F-CFDF483F7E3C}"/>
          </ac:picMkLst>
        </pc:picChg>
        <pc:picChg chg="mod">
          <ac:chgData name="Erick Moore" userId="96a732b2-26bb-45da-b8ee-37851dfdb22e" providerId="ADAL" clId="{A6768F3B-235C-4BDF-A79E-8DF5A2847A93}" dt="2021-06-18T15:07:53.647" v="6413"/>
          <ac:picMkLst>
            <pc:docMk/>
            <pc:sldMk cId="3186783452" sldId="2145705940"/>
            <ac:picMk id="69" creationId="{E363F5A4-0588-4951-AA69-4762DE99F380}"/>
          </ac:picMkLst>
        </pc:picChg>
        <pc:picChg chg="mod">
          <ac:chgData name="Erick Moore" userId="96a732b2-26bb-45da-b8ee-37851dfdb22e" providerId="ADAL" clId="{A6768F3B-235C-4BDF-A79E-8DF5A2847A93}" dt="2021-06-18T15:07:54.667" v="6414"/>
          <ac:picMkLst>
            <pc:docMk/>
            <pc:sldMk cId="3186783452" sldId="2145705940"/>
            <ac:picMk id="72" creationId="{7834D91D-48B9-490A-8D38-B0C5E6C6C5CE}"/>
          </ac:picMkLst>
        </pc:picChg>
        <pc:picChg chg="add mod">
          <ac:chgData name="Erick Moore" userId="96a732b2-26bb-45da-b8ee-37851dfdb22e" providerId="ADAL" clId="{A6768F3B-235C-4BDF-A79E-8DF5A2847A93}" dt="2021-06-18T15:26:48.226" v="6667" actId="1076"/>
          <ac:picMkLst>
            <pc:docMk/>
            <pc:sldMk cId="3186783452" sldId="2145705940"/>
            <ac:picMk id="126" creationId="{CA9036ED-A59B-4C78-9499-F2664DD37C06}"/>
          </ac:picMkLst>
        </pc:picChg>
        <pc:cxnChg chg="add mod">
          <ac:chgData name="Erick Moore" userId="96a732b2-26bb-45da-b8ee-37851dfdb22e" providerId="ADAL" clId="{A6768F3B-235C-4BDF-A79E-8DF5A2847A93}" dt="2021-06-18T15:20:17.748" v="6613" actId="1076"/>
          <ac:cxnSpMkLst>
            <pc:docMk/>
            <pc:sldMk cId="3186783452" sldId="2145705940"/>
            <ac:cxnSpMk id="3" creationId="{389BC08F-DA72-4738-9C22-D588C7EBFB29}"/>
          </ac:cxnSpMkLst>
        </pc:cxnChg>
        <pc:cxnChg chg="add mod">
          <ac:chgData name="Erick Moore" userId="96a732b2-26bb-45da-b8ee-37851dfdb22e" providerId="ADAL" clId="{A6768F3B-235C-4BDF-A79E-8DF5A2847A93}" dt="2021-06-18T15:20:17.748" v="6613" actId="1076"/>
          <ac:cxnSpMkLst>
            <pc:docMk/>
            <pc:sldMk cId="3186783452" sldId="2145705940"/>
            <ac:cxnSpMk id="11" creationId="{9385B120-9047-4E57-80C9-0EEBA1BF13A5}"/>
          </ac:cxnSpMkLst>
        </pc:cxnChg>
        <pc:cxnChg chg="add mod">
          <ac:chgData name="Erick Moore" userId="96a732b2-26bb-45da-b8ee-37851dfdb22e" providerId="ADAL" clId="{A6768F3B-235C-4BDF-A79E-8DF5A2847A93}" dt="2021-06-18T15:20:17.748" v="6613" actId="1076"/>
          <ac:cxnSpMkLst>
            <pc:docMk/>
            <pc:sldMk cId="3186783452" sldId="2145705940"/>
            <ac:cxnSpMk id="21" creationId="{8D6CBA31-E671-42BE-AF58-98DBECC98E15}"/>
          </ac:cxnSpMkLst>
        </pc:cxnChg>
        <pc:cxnChg chg="del">
          <ac:chgData name="Erick Moore" userId="96a732b2-26bb-45da-b8ee-37851dfdb22e" providerId="ADAL" clId="{A6768F3B-235C-4BDF-A79E-8DF5A2847A93}" dt="2021-06-18T19:01:14.569" v="8257" actId="478"/>
          <ac:cxnSpMkLst>
            <pc:docMk/>
            <pc:sldMk cId="3186783452" sldId="2145705940"/>
            <ac:cxnSpMk id="22" creationId="{64B18E2D-5F41-4722-8964-B87F1B93A77A}"/>
          </ac:cxnSpMkLst>
        </pc:cxnChg>
        <pc:cxnChg chg="add mod">
          <ac:chgData name="Erick Moore" userId="96a732b2-26bb-45da-b8ee-37851dfdb22e" providerId="ADAL" clId="{A6768F3B-235C-4BDF-A79E-8DF5A2847A93}" dt="2021-06-18T15:28:49.418" v="6693" actId="14100"/>
          <ac:cxnSpMkLst>
            <pc:docMk/>
            <pc:sldMk cId="3186783452" sldId="2145705940"/>
            <ac:cxnSpMk id="25" creationId="{0024E89B-C6B6-4C47-AA0E-37344360A194}"/>
          </ac:cxnSpMkLst>
        </pc:cxnChg>
        <pc:cxnChg chg="add mod">
          <ac:chgData name="Erick Moore" userId="96a732b2-26bb-45da-b8ee-37851dfdb22e" providerId="ADAL" clId="{A6768F3B-235C-4BDF-A79E-8DF5A2847A93}" dt="2021-06-18T15:20:17.748" v="6613" actId="1076"/>
          <ac:cxnSpMkLst>
            <pc:docMk/>
            <pc:sldMk cId="3186783452" sldId="2145705940"/>
            <ac:cxnSpMk id="33" creationId="{ADE1FA6E-F2BF-4B84-8793-713DFC93BFE1}"/>
          </ac:cxnSpMkLst>
        </pc:cxnChg>
        <pc:cxnChg chg="add del mod">
          <ac:chgData name="Erick Moore" userId="96a732b2-26bb-45da-b8ee-37851dfdb22e" providerId="ADAL" clId="{A6768F3B-235C-4BDF-A79E-8DF5A2847A93}" dt="2021-06-18T15:05:53.404" v="6347" actId="478"/>
          <ac:cxnSpMkLst>
            <pc:docMk/>
            <pc:sldMk cId="3186783452" sldId="2145705940"/>
            <ac:cxnSpMk id="41" creationId="{6DB2354A-8758-4488-9E37-7565B609ACF7}"/>
          </ac:cxnSpMkLst>
        </pc:cxnChg>
        <pc:cxnChg chg="add del mod">
          <ac:chgData name="Erick Moore" userId="96a732b2-26bb-45da-b8ee-37851dfdb22e" providerId="ADAL" clId="{A6768F3B-235C-4BDF-A79E-8DF5A2847A93}" dt="2021-06-18T15:05:54.980" v="6348" actId="478"/>
          <ac:cxnSpMkLst>
            <pc:docMk/>
            <pc:sldMk cId="3186783452" sldId="2145705940"/>
            <ac:cxnSpMk id="42" creationId="{BA1511C1-4392-4474-9EDD-10F28A2E3D0A}"/>
          </ac:cxnSpMkLst>
        </pc:cxnChg>
        <pc:cxnChg chg="add del mod">
          <ac:chgData name="Erick Moore" userId="96a732b2-26bb-45da-b8ee-37851dfdb22e" providerId="ADAL" clId="{A6768F3B-235C-4BDF-A79E-8DF5A2847A93}" dt="2021-06-18T15:05:36.449" v="6342" actId="478"/>
          <ac:cxnSpMkLst>
            <pc:docMk/>
            <pc:sldMk cId="3186783452" sldId="2145705940"/>
            <ac:cxnSpMk id="58" creationId="{1B404E08-8020-4AE0-B8E8-D87323C16230}"/>
          </ac:cxnSpMkLst>
        </pc:cxnChg>
        <pc:cxnChg chg="add del mod">
          <ac:chgData name="Erick Moore" userId="96a732b2-26bb-45da-b8ee-37851dfdb22e" providerId="ADAL" clId="{A6768F3B-235C-4BDF-A79E-8DF5A2847A93}" dt="2021-06-18T15:19:55.382" v="6611" actId="478"/>
          <ac:cxnSpMkLst>
            <pc:docMk/>
            <pc:sldMk cId="3186783452" sldId="2145705940"/>
            <ac:cxnSpMk id="63" creationId="{4A449501-0EFE-40BC-B1A2-EEAF9906E006}"/>
          </ac:cxnSpMkLst>
        </pc:cxnChg>
        <pc:cxnChg chg="add del mod">
          <ac:chgData name="Erick Moore" userId="96a732b2-26bb-45da-b8ee-37851dfdb22e" providerId="ADAL" clId="{A6768F3B-235C-4BDF-A79E-8DF5A2847A93}" dt="2021-06-18T15:17:37.427" v="6579" actId="478"/>
          <ac:cxnSpMkLst>
            <pc:docMk/>
            <pc:sldMk cId="3186783452" sldId="2145705940"/>
            <ac:cxnSpMk id="75" creationId="{5B0952D1-3484-445C-928F-702E87C7C504}"/>
          </ac:cxnSpMkLst>
        </pc:cxnChg>
        <pc:cxnChg chg="add mod">
          <ac:chgData name="Erick Moore" userId="96a732b2-26bb-45da-b8ee-37851dfdb22e" providerId="ADAL" clId="{A6768F3B-235C-4BDF-A79E-8DF5A2847A93}" dt="2021-06-18T15:28:30.812" v="6689" actId="14100"/>
          <ac:cxnSpMkLst>
            <pc:docMk/>
            <pc:sldMk cId="3186783452" sldId="2145705940"/>
            <ac:cxnSpMk id="83" creationId="{41581BE6-770B-4071-8D3D-232158A7CEBE}"/>
          </ac:cxnSpMkLst>
        </pc:cxnChg>
        <pc:cxnChg chg="add mod">
          <ac:chgData name="Erick Moore" userId="96a732b2-26bb-45da-b8ee-37851dfdb22e" providerId="ADAL" clId="{A6768F3B-235C-4BDF-A79E-8DF5A2847A93}" dt="2021-06-18T15:21:40.492" v="6629" actId="14100"/>
          <ac:cxnSpMkLst>
            <pc:docMk/>
            <pc:sldMk cId="3186783452" sldId="2145705940"/>
            <ac:cxnSpMk id="86" creationId="{8B3E33AE-E3B0-4AD3-B89E-7C7B8A093D39}"/>
          </ac:cxnSpMkLst>
        </pc:cxnChg>
        <pc:cxnChg chg="add mod">
          <ac:chgData name="Erick Moore" userId="96a732b2-26bb-45da-b8ee-37851dfdb22e" providerId="ADAL" clId="{A6768F3B-235C-4BDF-A79E-8DF5A2847A93}" dt="2021-06-18T15:24:37.649" v="6658" actId="692"/>
          <ac:cxnSpMkLst>
            <pc:docMk/>
            <pc:sldMk cId="3186783452" sldId="2145705940"/>
            <ac:cxnSpMk id="89" creationId="{61B77B97-F8B2-4206-892E-231365A78AB0}"/>
          </ac:cxnSpMkLst>
        </pc:cxnChg>
        <pc:cxnChg chg="add mod">
          <ac:chgData name="Erick Moore" userId="96a732b2-26bb-45da-b8ee-37851dfdb22e" providerId="ADAL" clId="{A6768F3B-235C-4BDF-A79E-8DF5A2847A93}" dt="2021-06-18T15:25:09.136" v="6661" actId="692"/>
          <ac:cxnSpMkLst>
            <pc:docMk/>
            <pc:sldMk cId="3186783452" sldId="2145705940"/>
            <ac:cxnSpMk id="93" creationId="{7D70EA44-E1FB-48F7-AB15-30835CB93E84}"/>
          </ac:cxnSpMkLst>
        </pc:cxnChg>
        <pc:cxnChg chg="add mod">
          <ac:chgData name="Erick Moore" userId="96a732b2-26bb-45da-b8ee-37851dfdb22e" providerId="ADAL" clId="{A6768F3B-235C-4BDF-A79E-8DF5A2847A93}" dt="2021-06-18T15:26:24.112" v="6664" actId="692"/>
          <ac:cxnSpMkLst>
            <pc:docMk/>
            <pc:sldMk cId="3186783452" sldId="2145705940"/>
            <ac:cxnSpMk id="100" creationId="{A31B1039-7912-4A4B-B8C0-92238AE7F64D}"/>
          </ac:cxnSpMkLst>
        </pc:cxnChg>
        <pc:cxnChg chg="add mod">
          <ac:chgData name="Erick Moore" userId="96a732b2-26bb-45da-b8ee-37851dfdb22e" providerId="ADAL" clId="{A6768F3B-235C-4BDF-A79E-8DF5A2847A93}" dt="2021-06-18T15:26:24.112" v="6664" actId="692"/>
          <ac:cxnSpMkLst>
            <pc:docMk/>
            <pc:sldMk cId="3186783452" sldId="2145705940"/>
            <ac:cxnSpMk id="104" creationId="{692DA063-B990-42A0-8429-252A6D06C857}"/>
          </ac:cxnSpMkLst>
        </pc:cxnChg>
        <pc:cxnChg chg="add mod">
          <ac:chgData name="Erick Moore" userId="96a732b2-26bb-45da-b8ee-37851dfdb22e" providerId="ADAL" clId="{A6768F3B-235C-4BDF-A79E-8DF5A2847A93}" dt="2021-06-18T15:48:30.209" v="7752" actId="14100"/>
          <ac:cxnSpMkLst>
            <pc:docMk/>
            <pc:sldMk cId="3186783452" sldId="2145705940"/>
            <ac:cxnSpMk id="112" creationId="{439BCF7B-9DDD-4665-A82F-8031BB254450}"/>
          </ac:cxnSpMkLst>
        </pc:cxnChg>
        <pc:cxnChg chg="add mod">
          <ac:chgData name="Erick Moore" userId="96a732b2-26bb-45da-b8ee-37851dfdb22e" providerId="ADAL" clId="{A6768F3B-235C-4BDF-A79E-8DF5A2847A93}" dt="2021-06-18T15:43:31.176" v="7343" actId="1076"/>
          <ac:cxnSpMkLst>
            <pc:docMk/>
            <pc:sldMk cId="3186783452" sldId="2145705940"/>
            <ac:cxnSpMk id="116" creationId="{F5B5136B-B422-46F9-B44D-419FE0626EF7}"/>
          </ac:cxnSpMkLst>
        </pc:cxnChg>
        <pc:cxnChg chg="add mod">
          <ac:chgData name="Erick Moore" userId="96a732b2-26bb-45da-b8ee-37851dfdb22e" providerId="ADAL" clId="{A6768F3B-235C-4BDF-A79E-8DF5A2847A93}" dt="2021-06-18T15:32:46.001" v="6716" actId="14100"/>
          <ac:cxnSpMkLst>
            <pc:docMk/>
            <pc:sldMk cId="3186783452" sldId="2145705940"/>
            <ac:cxnSpMk id="128" creationId="{EA66CA51-D25B-4D37-8EDD-EBCD2FEF0E06}"/>
          </ac:cxnSpMkLst>
        </pc:cxnChg>
        <pc:cxnChg chg="add del mod">
          <ac:chgData name="Erick Moore" userId="96a732b2-26bb-45da-b8ee-37851dfdb22e" providerId="ADAL" clId="{A6768F3B-235C-4BDF-A79E-8DF5A2847A93}" dt="2021-06-18T15:28:46.354" v="6692" actId="478"/>
          <ac:cxnSpMkLst>
            <pc:docMk/>
            <pc:sldMk cId="3186783452" sldId="2145705940"/>
            <ac:cxnSpMk id="132" creationId="{31D592AA-FE27-43C4-9E39-6660699B81BD}"/>
          </ac:cxnSpMkLst>
        </pc:cxnChg>
        <pc:cxnChg chg="add mod">
          <ac:chgData name="Erick Moore" userId="96a732b2-26bb-45da-b8ee-37851dfdb22e" providerId="ADAL" clId="{A6768F3B-235C-4BDF-A79E-8DF5A2847A93}" dt="2021-06-18T15:29:25.091" v="6701" actId="14100"/>
          <ac:cxnSpMkLst>
            <pc:docMk/>
            <pc:sldMk cId="3186783452" sldId="2145705940"/>
            <ac:cxnSpMk id="144" creationId="{EF032D9D-48FD-4CED-8A8B-459AEEB8103E}"/>
          </ac:cxnSpMkLst>
        </pc:cxnChg>
      </pc:sldChg>
      <pc:sldChg chg="addSp delSp modSp add mod modAnim">
        <pc:chgData name="Erick Moore" userId="96a732b2-26bb-45da-b8ee-37851dfdb22e" providerId="ADAL" clId="{A6768F3B-235C-4BDF-A79E-8DF5A2847A93}" dt="2021-06-24T14:25:20.276" v="14231" actId="20577"/>
        <pc:sldMkLst>
          <pc:docMk/>
          <pc:sldMk cId="1912072633" sldId="2145705941"/>
        </pc:sldMkLst>
        <pc:spChg chg="add mod">
          <ac:chgData name="Erick Moore" userId="96a732b2-26bb-45da-b8ee-37851dfdb22e" providerId="ADAL" clId="{A6768F3B-235C-4BDF-A79E-8DF5A2847A93}" dt="2021-06-24T14:25:20.276" v="14231" actId="20577"/>
          <ac:spMkLst>
            <pc:docMk/>
            <pc:sldMk cId="1912072633" sldId="2145705941"/>
            <ac:spMk id="5" creationId="{C89727F4-A5CA-452E-998A-A6DA0F3D5DCE}"/>
          </ac:spMkLst>
        </pc:spChg>
        <pc:spChg chg="add mod">
          <ac:chgData name="Erick Moore" userId="96a732b2-26bb-45da-b8ee-37851dfdb22e" providerId="ADAL" clId="{A6768F3B-235C-4BDF-A79E-8DF5A2847A93}" dt="2021-06-18T18:43:07.201" v="8196" actId="20577"/>
          <ac:spMkLst>
            <pc:docMk/>
            <pc:sldMk cId="1912072633" sldId="2145705941"/>
            <ac:spMk id="24" creationId="{CDAD056C-B68F-405D-B3CD-7138A8A5B44C}"/>
          </ac:spMkLst>
        </pc:spChg>
        <pc:spChg chg="mod">
          <ac:chgData name="Erick Moore" userId="96a732b2-26bb-45da-b8ee-37851dfdb22e" providerId="ADAL" clId="{A6768F3B-235C-4BDF-A79E-8DF5A2847A93}" dt="2021-06-18T18:25:20.260" v="7947" actId="20577"/>
          <ac:spMkLst>
            <pc:docMk/>
            <pc:sldMk cId="1912072633" sldId="2145705941"/>
            <ac:spMk id="27" creationId="{C3D7BFB0-2FEE-42AE-8273-78D9586CAA0C}"/>
          </ac:spMkLst>
        </pc:spChg>
        <pc:spChg chg="mod">
          <ac:chgData name="Erick Moore" userId="96a732b2-26bb-45da-b8ee-37851dfdb22e" providerId="ADAL" clId="{A6768F3B-235C-4BDF-A79E-8DF5A2847A93}" dt="2021-06-18T18:26:12.372" v="7950"/>
          <ac:spMkLst>
            <pc:docMk/>
            <pc:sldMk cId="1912072633" sldId="2145705941"/>
            <ac:spMk id="50" creationId="{24454BB0-F39B-47AE-B11A-864ABC3E3ADB}"/>
          </ac:spMkLst>
        </pc:spChg>
        <pc:spChg chg="add mod">
          <ac:chgData name="Erick Moore" userId="96a732b2-26bb-45da-b8ee-37851dfdb22e" providerId="ADAL" clId="{A6768F3B-235C-4BDF-A79E-8DF5A2847A93}" dt="2021-06-18T18:29:47.098" v="8044" actId="164"/>
          <ac:spMkLst>
            <pc:docMk/>
            <pc:sldMk cId="1912072633" sldId="2145705941"/>
            <ac:spMk id="52" creationId="{906DD059-F892-4015-8C96-0EEE07778560}"/>
          </ac:spMkLst>
        </pc:spChg>
        <pc:spChg chg="add mod ord">
          <ac:chgData name="Erick Moore" userId="96a732b2-26bb-45da-b8ee-37851dfdb22e" providerId="ADAL" clId="{A6768F3B-235C-4BDF-A79E-8DF5A2847A93}" dt="2021-06-18T18:32:38.988" v="8079" actId="207"/>
          <ac:spMkLst>
            <pc:docMk/>
            <pc:sldMk cId="1912072633" sldId="2145705941"/>
            <ac:spMk id="55" creationId="{3B59BA89-EE65-43D9-A999-E1712D3DDA66}"/>
          </ac:spMkLst>
        </pc:spChg>
        <pc:spChg chg="mod">
          <ac:chgData name="Erick Moore" userId="96a732b2-26bb-45da-b8ee-37851dfdb22e" providerId="ADAL" clId="{A6768F3B-235C-4BDF-A79E-8DF5A2847A93}" dt="2021-06-24T14:09:23.316" v="14152" actId="20577"/>
          <ac:spMkLst>
            <pc:docMk/>
            <pc:sldMk cId="1912072633" sldId="2145705941"/>
            <ac:spMk id="80" creationId="{0DFBB600-612E-4C68-BABC-6A88A79D1923}"/>
          </ac:spMkLst>
        </pc:spChg>
        <pc:grpChg chg="add mod">
          <ac:chgData name="Erick Moore" userId="96a732b2-26bb-45da-b8ee-37851dfdb22e" providerId="ADAL" clId="{A6768F3B-235C-4BDF-A79E-8DF5A2847A93}" dt="2021-06-18T18:25:54.198" v="7948" actId="164"/>
          <ac:grpSpMkLst>
            <pc:docMk/>
            <pc:sldMk cId="1912072633" sldId="2145705941"/>
            <ac:grpSpMk id="2" creationId="{B720366F-DBA7-47E4-8B8F-88FCDE676536}"/>
          </ac:grpSpMkLst>
        </pc:grpChg>
        <pc:grpChg chg="add mod">
          <ac:chgData name="Erick Moore" userId="96a732b2-26bb-45da-b8ee-37851dfdb22e" providerId="ADAL" clId="{A6768F3B-235C-4BDF-A79E-8DF5A2847A93}" dt="2021-06-18T18:29:47.098" v="8044" actId="164"/>
          <ac:grpSpMkLst>
            <pc:docMk/>
            <pc:sldMk cId="1912072633" sldId="2145705941"/>
            <ac:grpSpMk id="6" creationId="{492ACDB9-BD4E-47BE-9F69-95DF7C347AE0}"/>
          </ac:grpSpMkLst>
        </pc:grpChg>
        <pc:grpChg chg="add del mod">
          <ac:chgData name="Erick Moore" userId="96a732b2-26bb-45da-b8ee-37851dfdb22e" providerId="ADAL" clId="{A6768F3B-235C-4BDF-A79E-8DF5A2847A93}" dt="2021-06-18T18:26:19.055" v="7953"/>
          <ac:grpSpMkLst>
            <pc:docMk/>
            <pc:sldMk cId="1912072633" sldId="2145705941"/>
            <ac:grpSpMk id="48" creationId="{6A8C7869-2C84-4488-A922-5315793B61A1}"/>
          </ac:grpSpMkLst>
        </pc:grpChg>
        <pc:grpChg chg="mod">
          <ac:chgData name="Erick Moore" userId="96a732b2-26bb-45da-b8ee-37851dfdb22e" providerId="ADAL" clId="{A6768F3B-235C-4BDF-A79E-8DF5A2847A93}" dt="2021-06-18T18:26:18.761" v="7952" actId="1076"/>
          <ac:grpSpMkLst>
            <pc:docMk/>
            <pc:sldMk cId="1912072633" sldId="2145705941"/>
            <ac:grpSpMk id="71" creationId="{E8F7E6DD-2610-469C-A3F6-A9D7652F5F52}"/>
          </ac:grpSpMkLst>
        </pc:grpChg>
        <pc:picChg chg="mod">
          <ac:chgData name="Erick Moore" userId="96a732b2-26bb-45da-b8ee-37851dfdb22e" providerId="ADAL" clId="{A6768F3B-235C-4BDF-A79E-8DF5A2847A93}" dt="2021-06-18T18:26:12.372" v="7950"/>
          <ac:picMkLst>
            <pc:docMk/>
            <pc:sldMk cId="1912072633" sldId="2145705941"/>
            <ac:picMk id="49" creationId="{D92D7E8B-A50C-4886-BAB6-9C2CBB49CE19}"/>
          </ac:picMkLst>
        </pc:picChg>
        <pc:picChg chg="add mod">
          <ac:chgData name="Erick Moore" userId="96a732b2-26bb-45da-b8ee-37851dfdb22e" providerId="ADAL" clId="{A6768F3B-235C-4BDF-A79E-8DF5A2847A93}" dt="2021-06-18T18:29:47.098" v="8044" actId="164"/>
          <ac:picMkLst>
            <pc:docMk/>
            <pc:sldMk cId="1912072633" sldId="2145705941"/>
            <ac:picMk id="51" creationId="{C3EFBA59-4C20-4841-B182-43D9A3CCC422}"/>
          </ac:picMkLst>
        </pc:picChg>
        <pc:picChg chg="add mod">
          <ac:chgData name="Erick Moore" userId="96a732b2-26bb-45da-b8ee-37851dfdb22e" providerId="ADAL" clId="{A6768F3B-235C-4BDF-A79E-8DF5A2847A93}" dt="2021-06-24T11:26:58.074" v="10821"/>
          <ac:picMkLst>
            <pc:docMk/>
            <pc:sldMk cId="1912072633" sldId="2145705941"/>
            <ac:picMk id="54" creationId="{2C41D83D-3C02-454C-94D7-9DED1F4D1F1C}"/>
          </ac:picMkLst>
        </pc:picChg>
        <pc:cxnChg chg="del">
          <ac:chgData name="Erick Moore" userId="96a732b2-26bb-45da-b8ee-37851dfdb22e" providerId="ADAL" clId="{A6768F3B-235C-4BDF-A79E-8DF5A2847A93}" dt="2021-06-24T14:08:50.455" v="14141" actId="478"/>
          <ac:cxnSpMkLst>
            <pc:docMk/>
            <pc:sldMk cId="1912072633" sldId="2145705941"/>
            <ac:cxnSpMk id="22" creationId="{64B18E2D-5F41-4722-8964-B87F1B93A77A}"/>
          </ac:cxnSpMkLst>
        </pc:cxnChg>
        <pc:cxnChg chg="add mod">
          <ac:chgData name="Erick Moore" userId="96a732b2-26bb-45da-b8ee-37851dfdb22e" providerId="ADAL" clId="{A6768F3B-235C-4BDF-A79E-8DF5A2847A93}" dt="2021-06-18T18:33:00.897" v="8084" actId="14100"/>
          <ac:cxnSpMkLst>
            <pc:docMk/>
            <pc:sldMk cId="1912072633" sldId="2145705941"/>
            <ac:cxnSpMk id="57" creationId="{7ED2358F-E159-4A4D-919F-6242C9A99BD0}"/>
          </ac:cxnSpMkLst>
        </pc:cxnChg>
        <pc:cxnChg chg="add mod">
          <ac:chgData name="Erick Moore" userId="96a732b2-26bb-45da-b8ee-37851dfdb22e" providerId="ADAL" clId="{A6768F3B-235C-4BDF-A79E-8DF5A2847A93}" dt="2021-06-18T19:10:09.095" v="8363" actId="14100"/>
          <ac:cxnSpMkLst>
            <pc:docMk/>
            <pc:sldMk cId="1912072633" sldId="2145705941"/>
            <ac:cxnSpMk id="62" creationId="{D47A359D-2D4F-49CC-B081-827E3F8D1711}"/>
          </ac:cxnSpMkLst>
        </pc:cxnChg>
        <pc:cxnChg chg="mod">
          <ac:chgData name="Erick Moore" userId="96a732b2-26bb-45da-b8ee-37851dfdb22e" providerId="ADAL" clId="{A6768F3B-235C-4BDF-A79E-8DF5A2847A93}" dt="2021-06-18T18:26:18.761" v="7952" actId="1076"/>
          <ac:cxnSpMkLst>
            <pc:docMk/>
            <pc:sldMk cId="1912072633" sldId="2145705941"/>
            <ac:cxnSpMk id="83" creationId="{41581BE6-770B-4071-8D3D-232158A7CEBE}"/>
          </ac:cxnSpMkLst>
        </pc:cxnChg>
        <pc:cxnChg chg="mod">
          <ac:chgData name="Erick Moore" userId="96a732b2-26bb-45da-b8ee-37851dfdb22e" providerId="ADAL" clId="{A6768F3B-235C-4BDF-A79E-8DF5A2847A93}" dt="2021-06-18T18:33:04.887" v="8085" actId="14100"/>
          <ac:cxnSpMkLst>
            <pc:docMk/>
            <pc:sldMk cId="1912072633" sldId="2145705941"/>
            <ac:cxnSpMk id="100" creationId="{A31B1039-7912-4A4B-B8C0-92238AE7F64D}"/>
          </ac:cxnSpMkLst>
        </pc:cxnChg>
        <pc:cxnChg chg="mod">
          <ac:chgData name="Erick Moore" userId="96a732b2-26bb-45da-b8ee-37851dfdb22e" providerId="ADAL" clId="{A6768F3B-235C-4BDF-A79E-8DF5A2847A93}" dt="2021-06-18T18:25:54.198" v="7948" actId="164"/>
          <ac:cxnSpMkLst>
            <pc:docMk/>
            <pc:sldMk cId="1912072633" sldId="2145705941"/>
            <ac:cxnSpMk id="112" creationId="{439BCF7B-9DDD-4665-A82F-8031BB254450}"/>
          </ac:cxnSpMkLst>
        </pc:cxnChg>
        <pc:cxnChg chg="mod">
          <ac:chgData name="Erick Moore" userId="96a732b2-26bb-45da-b8ee-37851dfdb22e" providerId="ADAL" clId="{A6768F3B-235C-4BDF-A79E-8DF5A2847A93}" dt="2021-06-18T18:25:54.198" v="7948" actId="164"/>
          <ac:cxnSpMkLst>
            <pc:docMk/>
            <pc:sldMk cId="1912072633" sldId="2145705941"/>
            <ac:cxnSpMk id="116" creationId="{F5B5136B-B422-46F9-B44D-419FE0626EF7}"/>
          </ac:cxnSpMkLst>
        </pc:cxnChg>
        <pc:cxnChg chg="del mod">
          <ac:chgData name="Erick Moore" userId="96a732b2-26bb-45da-b8ee-37851dfdb22e" providerId="ADAL" clId="{A6768F3B-235C-4BDF-A79E-8DF5A2847A93}" dt="2021-06-18T18:31:07.786" v="8050" actId="478"/>
          <ac:cxnSpMkLst>
            <pc:docMk/>
            <pc:sldMk cId="1912072633" sldId="2145705941"/>
            <ac:cxnSpMk id="128" creationId="{EA66CA51-D25B-4D37-8EDD-EBCD2FEF0E06}"/>
          </ac:cxnSpMkLst>
        </pc:cxnChg>
        <pc:cxnChg chg="del">
          <ac:chgData name="Erick Moore" userId="96a732b2-26bb-45da-b8ee-37851dfdb22e" providerId="ADAL" clId="{A6768F3B-235C-4BDF-A79E-8DF5A2847A93}" dt="2021-06-18T18:31:05.926" v="8049" actId="478"/>
          <ac:cxnSpMkLst>
            <pc:docMk/>
            <pc:sldMk cId="1912072633" sldId="2145705941"/>
            <ac:cxnSpMk id="144" creationId="{EF032D9D-48FD-4CED-8A8B-459AEEB8103E}"/>
          </ac:cxnSpMkLst>
        </pc:cxnChg>
      </pc:sldChg>
      <pc:sldChg chg="addSp delSp modSp del mod modAnim modShow">
        <pc:chgData name="Erick Moore" userId="96a732b2-26bb-45da-b8ee-37851dfdb22e" providerId="ADAL" clId="{A6768F3B-235C-4BDF-A79E-8DF5A2847A93}" dt="2021-06-18T19:04:20.904" v="8277" actId="2696"/>
        <pc:sldMkLst>
          <pc:docMk/>
          <pc:sldMk cId="2363314194" sldId="2145705942"/>
        </pc:sldMkLst>
        <pc:spChg chg="del">
          <ac:chgData name="Erick Moore" userId="96a732b2-26bb-45da-b8ee-37851dfdb22e" providerId="ADAL" clId="{A6768F3B-235C-4BDF-A79E-8DF5A2847A93}" dt="2021-06-18T18:52:15.042" v="8224" actId="478"/>
          <ac:spMkLst>
            <pc:docMk/>
            <pc:sldMk cId="2363314194" sldId="2145705942"/>
            <ac:spMk id="3" creationId="{4C14F9C4-170A-49C7-A792-CCA2149A8B42}"/>
          </ac:spMkLst>
        </pc:spChg>
        <pc:spChg chg="del mod">
          <ac:chgData name="Erick Moore" userId="96a732b2-26bb-45da-b8ee-37851dfdb22e" providerId="ADAL" clId="{A6768F3B-235C-4BDF-A79E-8DF5A2847A93}" dt="2021-06-18T18:53:28.430" v="8235" actId="478"/>
          <ac:spMkLst>
            <pc:docMk/>
            <pc:sldMk cId="2363314194" sldId="2145705942"/>
            <ac:spMk id="4" creationId="{979C3BDD-44C1-4D28-93D3-D218E23FAFB6}"/>
          </ac:spMkLst>
        </pc:spChg>
        <pc:spChg chg="add del mod">
          <ac:chgData name="Erick Moore" userId="96a732b2-26bb-45da-b8ee-37851dfdb22e" providerId="ADAL" clId="{A6768F3B-235C-4BDF-A79E-8DF5A2847A93}" dt="2021-06-18T18:52:16.835" v="8225" actId="478"/>
          <ac:spMkLst>
            <pc:docMk/>
            <pc:sldMk cId="2363314194" sldId="2145705942"/>
            <ac:spMk id="7" creationId="{88ED5730-53D9-4E29-8B1E-991881B21212}"/>
          </ac:spMkLst>
        </pc:spChg>
        <pc:spChg chg="add del mod">
          <ac:chgData name="Erick Moore" userId="96a732b2-26bb-45da-b8ee-37851dfdb22e" providerId="ADAL" clId="{A6768F3B-235C-4BDF-A79E-8DF5A2847A93}" dt="2021-06-18T18:50:43.182" v="8219" actId="478"/>
          <ac:spMkLst>
            <pc:docMk/>
            <pc:sldMk cId="2363314194" sldId="2145705942"/>
            <ac:spMk id="8" creationId="{69031EF3-C2FF-467B-A155-733B41E1D0A4}"/>
          </ac:spMkLst>
        </pc:spChg>
        <pc:spChg chg="del mod">
          <ac:chgData name="Erick Moore" userId="96a732b2-26bb-45da-b8ee-37851dfdb22e" providerId="ADAL" clId="{A6768F3B-235C-4BDF-A79E-8DF5A2847A93}" dt="2021-06-18T18:50:07.678" v="8211"/>
          <ac:spMkLst>
            <pc:docMk/>
            <pc:sldMk cId="2363314194" sldId="2145705942"/>
            <ac:spMk id="9" creationId="{5381D660-30F4-4456-8A19-788360AA3AEC}"/>
          </ac:spMkLst>
        </pc:spChg>
        <pc:spChg chg="add mod">
          <ac:chgData name="Erick Moore" userId="96a732b2-26bb-45da-b8ee-37851dfdb22e" providerId="ADAL" clId="{A6768F3B-235C-4BDF-A79E-8DF5A2847A93}" dt="2021-06-18T18:50:37.144" v="8218"/>
          <ac:spMkLst>
            <pc:docMk/>
            <pc:sldMk cId="2363314194" sldId="2145705942"/>
            <ac:spMk id="10" creationId="{6C8D96DD-D0FD-4CAB-83C6-56E7CCB69D74}"/>
          </ac:spMkLst>
        </pc:spChg>
        <pc:spChg chg="add mod">
          <ac:chgData name="Erick Moore" userId="96a732b2-26bb-45da-b8ee-37851dfdb22e" providerId="ADAL" clId="{A6768F3B-235C-4BDF-A79E-8DF5A2847A93}" dt="2021-06-18T18:53:50.442" v="8238" actId="164"/>
          <ac:spMkLst>
            <pc:docMk/>
            <pc:sldMk cId="2363314194" sldId="2145705942"/>
            <ac:spMk id="12" creationId="{734DCCF2-EAA7-4ADE-9144-BBC4A70D8EFB}"/>
          </ac:spMkLst>
        </pc:spChg>
        <pc:spChg chg="add mod">
          <ac:chgData name="Erick Moore" userId="96a732b2-26bb-45da-b8ee-37851dfdb22e" providerId="ADAL" clId="{A6768F3B-235C-4BDF-A79E-8DF5A2847A93}" dt="2021-06-18T18:53:55.053" v="8239" actId="164"/>
          <ac:spMkLst>
            <pc:docMk/>
            <pc:sldMk cId="2363314194" sldId="2145705942"/>
            <ac:spMk id="13" creationId="{76648D41-7A7E-46E5-8B3F-B796E95D58F1}"/>
          </ac:spMkLst>
        </pc:spChg>
        <pc:spChg chg="add mod">
          <ac:chgData name="Erick Moore" userId="96a732b2-26bb-45da-b8ee-37851dfdb22e" providerId="ADAL" clId="{A6768F3B-235C-4BDF-A79E-8DF5A2847A93}" dt="2021-06-18T18:53:46.272" v="8237" actId="164"/>
          <ac:spMkLst>
            <pc:docMk/>
            <pc:sldMk cId="2363314194" sldId="2145705942"/>
            <ac:spMk id="16" creationId="{6A24C57D-D456-445B-99DA-F14C6C8C9C69}"/>
          </ac:spMkLst>
        </pc:spChg>
        <pc:spChg chg="add del mod">
          <ac:chgData name="Erick Moore" userId="96a732b2-26bb-45da-b8ee-37851dfdb22e" providerId="ADAL" clId="{A6768F3B-235C-4BDF-A79E-8DF5A2847A93}" dt="2021-06-18T18:53:31.280" v="8236" actId="478"/>
          <ac:spMkLst>
            <pc:docMk/>
            <pc:sldMk cId="2363314194" sldId="2145705942"/>
            <ac:spMk id="19" creationId="{CDB52DE8-EB0E-4173-B3F6-776D08F14005}"/>
          </ac:spMkLst>
        </pc:spChg>
        <pc:grpChg chg="add mod">
          <ac:chgData name="Erick Moore" userId="96a732b2-26bb-45da-b8ee-37851dfdb22e" providerId="ADAL" clId="{A6768F3B-235C-4BDF-A79E-8DF5A2847A93}" dt="2021-06-18T18:53:46.272" v="8237" actId="164"/>
          <ac:grpSpMkLst>
            <pc:docMk/>
            <pc:sldMk cId="2363314194" sldId="2145705942"/>
            <ac:grpSpMk id="20" creationId="{8ABB1EB8-4160-4A23-8C5D-F2D59FFC5CDD}"/>
          </ac:grpSpMkLst>
        </pc:grpChg>
        <pc:grpChg chg="add mod">
          <ac:chgData name="Erick Moore" userId="96a732b2-26bb-45da-b8ee-37851dfdb22e" providerId="ADAL" clId="{A6768F3B-235C-4BDF-A79E-8DF5A2847A93}" dt="2021-06-18T18:53:50.442" v="8238" actId="164"/>
          <ac:grpSpMkLst>
            <pc:docMk/>
            <pc:sldMk cId="2363314194" sldId="2145705942"/>
            <ac:grpSpMk id="21" creationId="{0297255D-8D06-49DB-BAC5-04EEBD663050}"/>
          </ac:grpSpMkLst>
        </pc:grpChg>
        <pc:grpChg chg="add mod">
          <ac:chgData name="Erick Moore" userId="96a732b2-26bb-45da-b8ee-37851dfdb22e" providerId="ADAL" clId="{A6768F3B-235C-4BDF-A79E-8DF5A2847A93}" dt="2021-06-18T18:53:55.053" v="8239" actId="164"/>
          <ac:grpSpMkLst>
            <pc:docMk/>
            <pc:sldMk cId="2363314194" sldId="2145705942"/>
            <ac:grpSpMk id="22" creationId="{80A8AFAD-CC33-4970-8C7B-65719E55FE3B}"/>
          </ac:grpSpMkLst>
        </pc:grpChg>
        <pc:graphicFrameChg chg="del">
          <ac:chgData name="Erick Moore" userId="96a732b2-26bb-45da-b8ee-37851dfdb22e" providerId="ADAL" clId="{A6768F3B-235C-4BDF-A79E-8DF5A2847A93}" dt="2021-06-18T18:52:03.615" v="8223" actId="478"/>
          <ac:graphicFrameMkLst>
            <pc:docMk/>
            <pc:sldMk cId="2363314194" sldId="2145705942"/>
            <ac:graphicFrameMk id="14" creationId="{A4F5DF57-E3C0-43B5-AFE5-5B8EF4EF1E2F}"/>
          </ac:graphicFrameMkLst>
        </pc:graphicFrameChg>
        <pc:picChg chg="add mod">
          <ac:chgData name="Erick Moore" userId="96a732b2-26bb-45da-b8ee-37851dfdb22e" providerId="ADAL" clId="{A6768F3B-235C-4BDF-A79E-8DF5A2847A93}" dt="2021-06-18T18:53:55.053" v="8239" actId="164"/>
          <ac:picMkLst>
            <pc:docMk/>
            <pc:sldMk cId="2363314194" sldId="2145705942"/>
            <ac:picMk id="15" creationId="{F7D709AA-707A-4A16-97DC-C8DB52AC2D18}"/>
          </ac:picMkLst>
        </pc:picChg>
        <pc:picChg chg="add mod">
          <ac:chgData name="Erick Moore" userId="96a732b2-26bb-45da-b8ee-37851dfdb22e" providerId="ADAL" clId="{A6768F3B-235C-4BDF-A79E-8DF5A2847A93}" dt="2021-06-18T18:53:46.272" v="8237" actId="164"/>
          <ac:picMkLst>
            <pc:docMk/>
            <pc:sldMk cId="2363314194" sldId="2145705942"/>
            <ac:picMk id="17" creationId="{565C621C-7ECA-42C7-A7ED-BED0ED3E304B}"/>
          </ac:picMkLst>
        </pc:picChg>
        <pc:picChg chg="add mod">
          <ac:chgData name="Erick Moore" userId="96a732b2-26bb-45da-b8ee-37851dfdb22e" providerId="ADAL" clId="{A6768F3B-235C-4BDF-A79E-8DF5A2847A93}" dt="2021-06-18T18:53:50.442" v="8238" actId="164"/>
          <ac:picMkLst>
            <pc:docMk/>
            <pc:sldMk cId="2363314194" sldId="2145705942"/>
            <ac:picMk id="18" creationId="{5D99ED73-DC45-4EAA-8BD2-F61518943C8A}"/>
          </ac:picMkLst>
        </pc:picChg>
      </pc:sldChg>
      <pc:sldChg chg="addSp delSp modSp add mod delAnim modAnim modNotesTx">
        <pc:chgData name="Erick Moore" userId="96a732b2-26bb-45da-b8ee-37851dfdb22e" providerId="ADAL" clId="{A6768F3B-235C-4BDF-A79E-8DF5A2847A93}" dt="2021-06-18T19:13:17.342" v="8540" actId="20577"/>
        <pc:sldMkLst>
          <pc:docMk/>
          <pc:sldMk cId="258342502" sldId="2145705943"/>
        </pc:sldMkLst>
        <pc:spChg chg="add del mod">
          <ac:chgData name="Erick Moore" userId="96a732b2-26bb-45da-b8ee-37851dfdb22e" providerId="ADAL" clId="{A6768F3B-235C-4BDF-A79E-8DF5A2847A93}" dt="2021-06-18T18:59:11.389" v="8246"/>
          <ac:spMkLst>
            <pc:docMk/>
            <pc:sldMk cId="258342502" sldId="2145705943"/>
            <ac:spMk id="14" creationId="{AD5B15F6-7BD7-486D-8B65-8CB7847ABC8D}"/>
          </ac:spMkLst>
        </pc:spChg>
        <pc:spChg chg="add del mod">
          <ac:chgData name="Erick Moore" userId="96a732b2-26bb-45da-b8ee-37851dfdb22e" providerId="ADAL" clId="{A6768F3B-235C-4BDF-A79E-8DF5A2847A93}" dt="2021-06-18T18:59:11.389" v="8246"/>
          <ac:spMkLst>
            <pc:docMk/>
            <pc:sldMk cId="258342502" sldId="2145705943"/>
            <ac:spMk id="19" creationId="{E107E956-F2CE-4106-9FA2-62D1A5E06388}"/>
          </ac:spMkLst>
        </pc:spChg>
        <pc:spChg chg="add del mod">
          <ac:chgData name="Erick Moore" userId="96a732b2-26bb-45da-b8ee-37851dfdb22e" providerId="ADAL" clId="{A6768F3B-235C-4BDF-A79E-8DF5A2847A93}" dt="2021-06-18T18:59:11.389" v="8246"/>
          <ac:spMkLst>
            <pc:docMk/>
            <pc:sldMk cId="258342502" sldId="2145705943"/>
            <ac:spMk id="23" creationId="{7B53348A-A1F9-45E4-AB95-F0786C8B4687}"/>
          </ac:spMkLst>
        </pc:spChg>
        <pc:spChg chg="add del mod">
          <ac:chgData name="Erick Moore" userId="96a732b2-26bb-45da-b8ee-37851dfdb22e" providerId="ADAL" clId="{A6768F3B-235C-4BDF-A79E-8DF5A2847A93}" dt="2021-06-18T18:59:11.389" v="8246"/>
          <ac:spMkLst>
            <pc:docMk/>
            <pc:sldMk cId="258342502" sldId="2145705943"/>
            <ac:spMk id="24" creationId="{21F1C4EC-BF18-44E4-A7CA-C85E05996AED}"/>
          </ac:spMkLst>
        </pc:spChg>
        <pc:spChg chg="add del mod">
          <ac:chgData name="Erick Moore" userId="96a732b2-26bb-45da-b8ee-37851dfdb22e" providerId="ADAL" clId="{A6768F3B-235C-4BDF-A79E-8DF5A2847A93}" dt="2021-06-18T18:59:11.389" v="8246"/>
          <ac:spMkLst>
            <pc:docMk/>
            <pc:sldMk cId="258342502" sldId="2145705943"/>
            <ac:spMk id="25" creationId="{7F4A669B-D048-45F0-8D4E-458F8AA7F826}"/>
          </ac:spMkLst>
        </pc:spChg>
        <pc:spChg chg="add del mod">
          <ac:chgData name="Erick Moore" userId="96a732b2-26bb-45da-b8ee-37851dfdb22e" providerId="ADAL" clId="{A6768F3B-235C-4BDF-A79E-8DF5A2847A93}" dt="2021-06-18T18:59:11.389" v="8246"/>
          <ac:spMkLst>
            <pc:docMk/>
            <pc:sldMk cId="258342502" sldId="2145705943"/>
            <ac:spMk id="26" creationId="{B68E6A30-8D19-4AB3-85D7-62FBCF1F4B88}"/>
          </ac:spMkLst>
        </pc:spChg>
        <pc:spChg chg="add del mod">
          <ac:chgData name="Erick Moore" userId="96a732b2-26bb-45da-b8ee-37851dfdb22e" providerId="ADAL" clId="{A6768F3B-235C-4BDF-A79E-8DF5A2847A93}" dt="2021-06-18T18:59:11.389" v="8246"/>
          <ac:spMkLst>
            <pc:docMk/>
            <pc:sldMk cId="258342502" sldId="2145705943"/>
            <ac:spMk id="27" creationId="{38492430-F556-4B1A-804F-704468FE9AB8}"/>
          </ac:spMkLst>
        </pc:spChg>
        <pc:spChg chg="add del mod">
          <ac:chgData name="Erick Moore" userId="96a732b2-26bb-45da-b8ee-37851dfdb22e" providerId="ADAL" clId="{A6768F3B-235C-4BDF-A79E-8DF5A2847A93}" dt="2021-06-18T18:59:11.389" v="8246"/>
          <ac:spMkLst>
            <pc:docMk/>
            <pc:sldMk cId="258342502" sldId="2145705943"/>
            <ac:spMk id="28" creationId="{7DE88015-6372-4457-BE43-56EFF8FB7173}"/>
          </ac:spMkLst>
        </pc:spChg>
        <pc:spChg chg="mod">
          <ac:chgData name="Erick Moore" userId="96a732b2-26bb-45da-b8ee-37851dfdb22e" providerId="ADAL" clId="{A6768F3B-235C-4BDF-A79E-8DF5A2847A93}" dt="2021-06-18T18:58:59.683" v="8245"/>
          <ac:spMkLst>
            <pc:docMk/>
            <pc:sldMk cId="258342502" sldId="2145705943"/>
            <ac:spMk id="30" creationId="{3F3B0713-1463-4FF1-B459-2C762A542E9C}"/>
          </ac:spMkLst>
        </pc:spChg>
        <pc:spChg chg="mod">
          <ac:chgData name="Erick Moore" userId="96a732b2-26bb-45da-b8ee-37851dfdb22e" providerId="ADAL" clId="{A6768F3B-235C-4BDF-A79E-8DF5A2847A93}" dt="2021-06-18T18:58:59.683" v="8245"/>
          <ac:spMkLst>
            <pc:docMk/>
            <pc:sldMk cId="258342502" sldId="2145705943"/>
            <ac:spMk id="31" creationId="{DD489422-4787-4CCC-9D13-06FE38653F18}"/>
          </ac:spMkLst>
        </pc:spChg>
        <pc:spChg chg="mod">
          <ac:chgData name="Erick Moore" userId="96a732b2-26bb-45da-b8ee-37851dfdb22e" providerId="ADAL" clId="{A6768F3B-235C-4BDF-A79E-8DF5A2847A93}" dt="2021-06-18T18:58:59.683" v="8245"/>
          <ac:spMkLst>
            <pc:docMk/>
            <pc:sldMk cId="258342502" sldId="2145705943"/>
            <ac:spMk id="32" creationId="{EDB1284D-8B66-482B-946E-EE9BB3C14ADF}"/>
          </ac:spMkLst>
        </pc:spChg>
        <pc:spChg chg="mod">
          <ac:chgData name="Erick Moore" userId="96a732b2-26bb-45da-b8ee-37851dfdb22e" providerId="ADAL" clId="{A6768F3B-235C-4BDF-A79E-8DF5A2847A93}" dt="2021-06-18T18:58:59.683" v="8245"/>
          <ac:spMkLst>
            <pc:docMk/>
            <pc:sldMk cId="258342502" sldId="2145705943"/>
            <ac:spMk id="33" creationId="{5BFDD4DD-551B-42E4-9F41-DC913E0722DA}"/>
          </ac:spMkLst>
        </pc:spChg>
        <pc:spChg chg="mod">
          <ac:chgData name="Erick Moore" userId="96a732b2-26bb-45da-b8ee-37851dfdb22e" providerId="ADAL" clId="{A6768F3B-235C-4BDF-A79E-8DF5A2847A93}" dt="2021-06-18T18:58:59.683" v="8245"/>
          <ac:spMkLst>
            <pc:docMk/>
            <pc:sldMk cId="258342502" sldId="2145705943"/>
            <ac:spMk id="34" creationId="{4C5079D7-C80D-4048-AE16-763EFB56A7D9}"/>
          </ac:spMkLst>
        </pc:spChg>
        <pc:spChg chg="mod">
          <ac:chgData name="Erick Moore" userId="96a732b2-26bb-45da-b8ee-37851dfdb22e" providerId="ADAL" clId="{A6768F3B-235C-4BDF-A79E-8DF5A2847A93}" dt="2021-06-18T18:58:59.683" v="8245"/>
          <ac:spMkLst>
            <pc:docMk/>
            <pc:sldMk cId="258342502" sldId="2145705943"/>
            <ac:spMk id="35" creationId="{A4C40BC2-88D4-4662-BD84-B326AC440E1A}"/>
          </ac:spMkLst>
        </pc:spChg>
        <pc:spChg chg="mod">
          <ac:chgData name="Erick Moore" userId="96a732b2-26bb-45da-b8ee-37851dfdb22e" providerId="ADAL" clId="{A6768F3B-235C-4BDF-A79E-8DF5A2847A93}" dt="2021-06-18T18:58:59.683" v="8245"/>
          <ac:spMkLst>
            <pc:docMk/>
            <pc:sldMk cId="258342502" sldId="2145705943"/>
            <ac:spMk id="37" creationId="{CE7CB773-116D-43AF-8021-B4A8AF3D8C4D}"/>
          </ac:spMkLst>
        </pc:spChg>
        <pc:spChg chg="mod">
          <ac:chgData name="Erick Moore" userId="96a732b2-26bb-45da-b8ee-37851dfdb22e" providerId="ADAL" clId="{A6768F3B-235C-4BDF-A79E-8DF5A2847A93}" dt="2021-06-18T18:58:59.683" v="8245"/>
          <ac:spMkLst>
            <pc:docMk/>
            <pc:sldMk cId="258342502" sldId="2145705943"/>
            <ac:spMk id="38" creationId="{E9665F50-5E1D-4AF3-864E-EDAEF4A08FB4}"/>
          </ac:spMkLst>
        </pc:spChg>
        <pc:spChg chg="mod">
          <ac:chgData name="Erick Moore" userId="96a732b2-26bb-45da-b8ee-37851dfdb22e" providerId="ADAL" clId="{A6768F3B-235C-4BDF-A79E-8DF5A2847A93}" dt="2021-06-18T18:58:59.683" v="8245"/>
          <ac:spMkLst>
            <pc:docMk/>
            <pc:sldMk cId="258342502" sldId="2145705943"/>
            <ac:spMk id="39" creationId="{F661A194-C335-41BE-80CC-F3ECC56CCA84}"/>
          </ac:spMkLst>
        </pc:spChg>
        <pc:spChg chg="mod">
          <ac:chgData name="Erick Moore" userId="96a732b2-26bb-45da-b8ee-37851dfdb22e" providerId="ADAL" clId="{A6768F3B-235C-4BDF-A79E-8DF5A2847A93}" dt="2021-06-18T18:58:59.683" v="8245"/>
          <ac:spMkLst>
            <pc:docMk/>
            <pc:sldMk cId="258342502" sldId="2145705943"/>
            <ac:spMk id="40" creationId="{6FF5CD8E-7ED0-4F47-95B6-CAD1D15F7AF9}"/>
          </ac:spMkLst>
        </pc:spChg>
        <pc:spChg chg="mod">
          <ac:chgData name="Erick Moore" userId="96a732b2-26bb-45da-b8ee-37851dfdb22e" providerId="ADAL" clId="{A6768F3B-235C-4BDF-A79E-8DF5A2847A93}" dt="2021-06-18T18:58:59.683" v="8245"/>
          <ac:spMkLst>
            <pc:docMk/>
            <pc:sldMk cId="258342502" sldId="2145705943"/>
            <ac:spMk id="41" creationId="{03BEC49D-7250-4CE3-8687-31E216CF21B8}"/>
          </ac:spMkLst>
        </pc:spChg>
        <pc:spChg chg="mod">
          <ac:chgData name="Erick Moore" userId="96a732b2-26bb-45da-b8ee-37851dfdb22e" providerId="ADAL" clId="{A6768F3B-235C-4BDF-A79E-8DF5A2847A93}" dt="2021-06-18T18:58:59.683" v="8245"/>
          <ac:spMkLst>
            <pc:docMk/>
            <pc:sldMk cId="258342502" sldId="2145705943"/>
            <ac:spMk id="42" creationId="{0700ACC9-F092-418D-BFDA-35D122A4FC89}"/>
          </ac:spMkLst>
        </pc:spChg>
        <pc:spChg chg="mod">
          <ac:chgData name="Erick Moore" userId="96a732b2-26bb-45da-b8ee-37851dfdb22e" providerId="ADAL" clId="{A6768F3B-235C-4BDF-A79E-8DF5A2847A93}" dt="2021-06-18T18:58:59.683" v="8245"/>
          <ac:spMkLst>
            <pc:docMk/>
            <pc:sldMk cId="258342502" sldId="2145705943"/>
            <ac:spMk id="43" creationId="{480B9C91-DD2D-4543-B12D-69A31729D81D}"/>
          </ac:spMkLst>
        </pc:spChg>
        <pc:spChg chg="mod">
          <ac:chgData name="Erick Moore" userId="96a732b2-26bb-45da-b8ee-37851dfdb22e" providerId="ADAL" clId="{A6768F3B-235C-4BDF-A79E-8DF5A2847A93}" dt="2021-06-18T18:58:59.683" v="8245"/>
          <ac:spMkLst>
            <pc:docMk/>
            <pc:sldMk cId="258342502" sldId="2145705943"/>
            <ac:spMk id="44" creationId="{891C8723-EE2D-4649-BE8C-BE71EFB86DB0}"/>
          </ac:spMkLst>
        </pc:spChg>
        <pc:spChg chg="mod">
          <ac:chgData name="Erick Moore" userId="96a732b2-26bb-45da-b8ee-37851dfdb22e" providerId="ADAL" clId="{A6768F3B-235C-4BDF-A79E-8DF5A2847A93}" dt="2021-06-18T18:58:59.683" v="8245"/>
          <ac:spMkLst>
            <pc:docMk/>
            <pc:sldMk cId="258342502" sldId="2145705943"/>
            <ac:spMk id="49" creationId="{EF200D72-7222-4F4A-B0FA-6479CAB2D9E3}"/>
          </ac:spMkLst>
        </pc:spChg>
        <pc:spChg chg="mod">
          <ac:chgData name="Erick Moore" userId="96a732b2-26bb-45da-b8ee-37851dfdb22e" providerId="ADAL" clId="{A6768F3B-235C-4BDF-A79E-8DF5A2847A93}" dt="2021-06-18T18:58:59.683" v="8245"/>
          <ac:spMkLst>
            <pc:docMk/>
            <pc:sldMk cId="258342502" sldId="2145705943"/>
            <ac:spMk id="50" creationId="{05C61DD4-F65D-4FE3-9F12-C094465CB15D}"/>
          </ac:spMkLst>
        </pc:spChg>
        <pc:spChg chg="mod">
          <ac:chgData name="Erick Moore" userId="96a732b2-26bb-45da-b8ee-37851dfdb22e" providerId="ADAL" clId="{A6768F3B-235C-4BDF-A79E-8DF5A2847A93}" dt="2021-06-18T18:58:59.683" v="8245"/>
          <ac:spMkLst>
            <pc:docMk/>
            <pc:sldMk cId="258342502" sldId="2145705943"/>
            <ac:spMk id="51" creationId="{B1AB8114-AF99-4D85-906B-BAB7A331E853}"/>
          </ac:spMkLst>
        </pc:spChg>
        <pc:spChg chg="mod">
          <ac:chgData name="Erick Moore" userId="96a732b2-26bb-45da-b8ee-37851dfdb22e" providerId="ADAL" clId="{A6768F3B-235C-4BDF-A79E-8DF5A2847A93}" dt="2021-06-18T18:58:59.683" v="8245"/>
          <ac:spMkLst>
            <pc:docMk/>
            <pc:sldMk cId="258342502" sldId="2145705943"/>
            <ac:spMk id="52" creationId="{42BC0FFB-2BE6-40AB-B2F2-75EC2474263E}"/>
          </ac:spMkLst>
        </pc:spChg>
        <pc:spChg chg="mod">
          <ac:chgData name="Erick Moore" userId="96a732b2-26bb-45da-b8ee-37851dfdb22e" providerId="ADAL" clId="{A6768F3B-235C-4BDF-A79E-8DF5A2847A93}" dt="2021-06-18T18:58:59.683" v="8245"/>
          <ac:spMkLst>
            <pc:docMk/>
            <pc:sldMk cId="258342502" sldId="2145705943"/>
            <ac:spMk id="53" creationId="{14CFEA7A-CFB9-4AF4-BF77-EA4AD24A6565}"/>
          </ac:spMkLst>
        </pc:spChg>
        <pc:spChg chg="mod">
          <ac:chgData name="Erick Moore" userId="96a732b2-26bb-45da-b8ee-37851dfdb22e" providerId="ADAL" clId="{A6768F3B-235C-4BDF-A79E-8DF5A2847A93}" dt="2021-06-18T18:58:59.683" v="8245"/>
          <ac:spMkLst>
            <pc:docMk/>
            <pc:sldMk cId="258342502" sldId="2145705943"/>
            <ac:spMk id="54" creationId="{51FAD3D8-1167-4F0F-B421-CEEF4A7DEE99}"/>
          </ac:spMkLst>
        </pc:spChg>
        <pc:spChg chg="mod">
          <ac:chgData name="Erick Moore" userId="96a732b2-26bb-45da-b8ee-37851dfdb22e" providerId="ADAL" clId="{A6768F3B-235C-4BDF-A79E-8DF5A2847A93}" dt="2021-06-18T18:58:59.683" v="8245"/>
          <ac:spMkLst>
            <pc:docMk/>
            <pc:sldMk cId="258342502" sldId="2145705943"/>
            <ac:spMk id="56" creationId="{E227783C-2CB4-475B-91CF-3FD7F67EA2F8}"/>
          </ac:spMkLst>
        </pc:spChg>
        <pc:spChg chg="mod">
          <ac:chgData name="Erick Moore" userId="96a732b2-26bb-45da-b8ee-37851dfdb22e" providerId="ADAL" clId="{A6768F3B-235C-4BDF-A79E-8DF5A2847A93}" dt="2021-06-18T18:58:59.683" v="8245"/>
          <ac:spMkLst>
            <pc:docMk/>
            <pc:sldMk cId="258342502" sldId="2145705943"/>
            <ac:spMk id="57" creationId="{3F2428A3-BE83-4723-BC02-9A048466C5FD}"/>
          </ac:spMkLst>
        </pc:spChg>
        <pc:spChg chg="mod">
          <ac:chgData name="Erick Moore" userId="96a732b2-26bb-45da-b8ee-37851dfdb22e" providerId="ADAL" clId="{A6768F3B-235C-4BDF-A79E-8DF5A2847A93}" dt="2021-06-18T18:58:59.683" v="8245"/>
          <ac:spMkLst>
            <pc:docMk/>
            <pc:sldMk cId="258342502" sldId="2145705943"/>
            <ac:spMk id="58" creationId="{8BD098C1-8CA8-4753-9779-9B9F28920CCD}"/>
          </ac:spMkLst>
        </pc:spChg>
        <pc:spChg chg="mod">
          <ac:chgData name="Erick Moore" userId="96a732b2-26bb-45da-b8ee-37851dfdb22e" providerId="ADAL" clId="{A6768F3B-235C-4BDF-A79E-8DF5A2847A93}" dt="2021-06-18T18:58:59.683" v="8245"/>
          <ac:spMkLst>
            <pc:docMk/>
            <pc:sldMk cId="258342502" sldId="2145705943"/>
            <ac:spMk id="59" creationId="{A7B138CC-140F-413B-B15C-D77982A0048B}"/>
          </ac:spMkLst>
        </pc:spChg>
        <pc:spChg chg="mod">
          <ac:chgData name="Erick Moore" userId="96a732b2-26bb-45da-b8ee-37851dfdb22e" providerId="ADAL" clId="{A6768F3B-235C-4BDF-A79E-8DF5A2847A93}" dt="2021-06-18T18:58:59.683" v="8245"/>
          <ac:spMkLst>
            <pc:docMk/>
            <pc:sldMk cId="258342502" sldId="2145705943"/>
            <ac:spMk id="60" creationId="{C41EDC83-B1E2-43A1-B33E-DF9923A40E4B}"/>
          </ac:spMkLst>
        </pc:spChg>
        <pc:spChg chg="mod">
          <ac:chgData name="Erick Moore" userId="96a732b2-26bb-45da-b8ee-37851dfdb22e" providerId="ADAL" clId="{A6768F3B-235C-4BDF-A79E-8DF5A2847A93}" dt="2021-06-18T18:58:59.683" v="8245"/>
          <ac:spMkLst>
            <pc:docMk/>
            <pc:sldMk cId="258342502" sldId="2145705943"/>
            <ac:spMk id="63" creationId="{81ACE277-E1F6-4EC9-A976-4B99BE600664}"/>
          </ac:spMkLst>
        </pc:spChg>
        <pc:spChg chg="mod">
          <ac:chgData name="Erick Moore" userId="96a732b2-26bb-45da-b8ee-37851dfdb22e" providerId="ADAL" clId="{A6768F3B-235C-4BDF-A79E-8DF5A2847A93}" dt="2021-06-18T18:58:59.683" v="8245"/>
          <ac:spMkLst>
            <pc:docMk/>
            <pc:sldMk cId="258342502" sldId="2145705943"/>
            <ac:spMk id="64" creationId="{A172AB6A-2F40-4EFA-861D-BD4F33F3FD66}"/>
          </ac:spMkLst>
        </pc:spChg>
        <pc:spChg chg="mod">
          <ac:chgData name="Erick Moore" userId="96a732b2-26bb-45da-b8ee-37851dfdb22e" providerId="ADAL" clId="{A6768F3B-235C-4BDF-A79E-8DF5A2847A93}" dt="2021-06-18T18:58:59.683" v="8245"/>
          <ac:spMkLst>
            <pc:docMk/>
            <pc:sldMk cId="258342502" sldId="2145705943"/>
            <ac:spMk id="65" creationId="{69752217-7E37-4AAC-AA68-87503FC980A1}"/>
          </ac:spMkLst>
        </pc:spChg>
        <pc:spChg chg="mod">
          <ac:chgData name="Erick Moore" userId="96a732b2-26bb-45da-b8ee-37851dfdb22e" providerId="ADAL" clId="{A6768F3B-235C-4BDF-A79E-8DF5A2847A93}" dt="2021-06-18T18:58:59.683" v="8245"/>
          <ac:spMkLst>
            <pc:docMk/>
            <pc:sldMk cId="258342502" sldId="2145705943"/>
            <ac:spMk id="66" creationId="{73182A4E-8864-4022-B0E0-CF90CE3457E2}"/>
          </ac:spMkLst>
        </pc:spChg>
        <pc:spChg chg="mod">
          <ac:chgData name="Erick Moore" userId="96a732b2-26bb-45da-b8ee-37851dfdb22e" providerId="ADAL" clId="{A6768F3B-235C-4BDF-A79E-8DF5A2847A93}" dt="2021-06-18T18:58:59.683" v="8245"/>
          <ac:spMkLst>
            <pc:docMk/>
            <pc:sldMk cId="258342502" sldId="2145705943"/>
            <ac:spMk id="68" creationId="{FFB81DEA-A9E3-4A04-A6A0-EBDAEB94DEC3}"/>
          </ac:spMkLst>
        </pc:spChg>
        <pc:spChg chg="mod">
          <ac:chgData name="Erick Moore" userId="96a732b2-26bb-45da-b8ee-37851dfdb22e" providerId="ADAL" clId="{A6768F3B-235C-4BDF-A79E-8DF5A2847A93}" dt="2021-06-18T18:58:59.683" v="8245"/>
          <ac:spMkLst>
            <pc:docMk/>
            <pc:sldMk cId="258342502" sldId="2145705943"/>
            <ac:spMk id="78" creationId="{0DE85FF9-785E-4A33-BF3A-2C257689C681}"/>
          </ac:spMkLst>
        </pc:spChg>
        <pc:spChg chg="add mod">
          <ac:chgData name="Erick Moore" userId="96a732b2-26bb-45da-b8ee-37851dfdb22e" providerId="ADAL" clId="{A6768F3B-235C-4BDF-A79E-8DF5A2847A93}" dt="2021-06-18T19:01:50.083" v="8261" actId="164"/>
          <ac:spMkLst>
            <pc:docMk/>
            <pc:sldMk cId="258342502" sldId="2145705943"/>
            <ac:spMk id="79" creationId="{FF58C21A-8FA0-4285-B757-0723559E4E79}"/>
          </ac:spMkLst>
        </pc:spChg>
        <pc:spChg chg="add mod">
          <ac:chgData name="Erick Moore" userId="96a732b2-26bb-45da-b8ee-37851dfdb22e" providerId="ADAL" clId="{A6768F3B-235C-4BDF-A79E-8DF5A2847A93}" dt="2021-06-18T19:01:59.943" v="8262" actId="164"/>
          <ac:spMkLst>
            <pc:docMk/>
            <pc:sldMk cId="258342502" sldId="2145705943"/>
            <ac:spMk id="80" creationId="{E0E0DCAF-4ED8-44D1-966F-BE3225852B26}"/>
          </ac:spMkLst>
        </pc:spChg>
        <pc:spChg chg="add mod">
          <ac:chgData name="Erick Moore" userId="96a732b2-26bb-45da-b8ee-37851dfdb22e" providerId="ADAL" clId="{A6768F3B-235C-4BDF-A79E-8DF5A2847A93}" dt="2021-06-18T19:02:09.137" v="8264" actId="164"/>
          <ac:spMkLst>
            <pc:docMk/>
            <pc:sldMk cId="258342502" sldId="2145705943"/>
            <ac:spMk id="81" creationId="{E33CF0F3-8009-49C7-8445-3F5EF3FE5CB9}"/>
          </ac:spMkLst>
        </pc:spChg>
        <pc:spChg chg="add mod">
          <ac:chgData name="Erick Moore" userId="96a732b2-26bb-45da-b8ee-37851dfdb22e" providerId="ADAL" clId="{A6768F3B-235C-4BDF-A79E-8DF5A2847A93}" dt="2021-06-18T19:02:04.570" v="8263" actId="164"/>
          <ac:spMkLst>
            <pc:docMk/>
            <pc:sldMk cId="258342502" sldId="2145705943"/>
            <ac:spMk id="82" creationId="{3DCA99F8-3D29-4161-A104-0EB87E0912FB}"/>
          </ac:spMkLst>
        </pc:spChg>
        <pc:spChg chg="add mod">
          <ac:chgData name="Erick Moore" userId="96a732b2-26bb-45da-b8ee-37851dfdb22e" providerId="ADAL" clId="{A6768F3B-235C-4BDF-A79E-8DF5A2847A93}" dt="2021-06-18T19:02:14.522" v="8265" actId="164"/>
          <ac:spMkLst>
            <pc:docMk/>
            <pc:sldMk cId="258342502" sldId="2145705943"/>
            <ac:spMk id="83" creationId="{A9B9A55C-A37B-476E-AA65-D42682900A43}"/>
          </ac:spMkLst>
        </pc:spChg>
        <pc:spChg chg="add mod">
          <ac:chgData name="Erick Moore" userId="96a732b2-26bb-45da-b8ee-37851dfdb22e" providerId="ADAL" clId="{A6768F3B-235C-4BDF-A79E-8DF5A2847A93}" dt="2021-06-18T19:03:05.244" v="8271" actId="164"/>
          <ac:spMkLst>
            <pc:docMk/>
            <pc:sldMk cId="258342502" sldId="2145705943"/>
            <ac:spMk id="84" creationId="{EFC81122-F2B7-4A8E-92CE-19544BD7BFD0}"/>
          </ac:spMkLst>
        </pc:spChg>
        <pc:spChg chg="add mod">
          <ac:chgData name="Erick Moore" userId="96a732b2-26bb-45da-b8ee-37851dfdb22e" providerId="ADAL" clId="{A6768F3B-235C-4BDF-A79E-8DF5A2847A93}" dt="2021-06-18T19:03:14.538" v="8273" actId="164"/>
          <ac:spMkLst>
            <pc:docMk/>
            <pc:sldMk cId="258342502" sldId="2145705943"/>
            <ac:spMk id="85" creationId="{E57C2DE5-DAB1-43B9-84D0-74176CDC00A3}"/>
          </ac:spMkLst>
        </pc:spChg>
        <pc:spChg chg="add mod">
          <ac:chgData name="Erick Moore" userId="96a732b2-26bb-45da-b8ee-37851dfdb22e" providerId="ADAL" clId="{A6768F3B-235C-4BDF-A79E-8DF5A2847A93}" dt="2021-06-18T19:03:10.263" v="8272" actId="164"/>
          <ac:spMkLst>
            <pc:docMk/>
            <pc:sldMk cId="258342502" sldId="2145705943"/>
            <ac:spMk id="86" creationId="{AB0EF593-5DC5-4ABB-A52E-4BE779795AE7}"/>
          </ac:spMkLst>
        </pc:spChg>
        <pc:spChg chg="mod">
          <ac:chgData name="Erick Moore" userId="96a732b2-26bb-45da-b8ee-37851dfdb22e" providerId="ADAL" clId="{A6768F3B-235C-4BDF-A79E-8DF5A2847A93}" dt="2021-06-18T18:59:19.508" v="8247"/>
          <ac:spMkLst>
            <pc:docMk/>
            <pc:sldMk cId="258342502" sldId="2145705943"/>
            <ac:spMk id="88" creationId="{F1C3AB12-0841-4845-8C34-8E23E8B52E1D}"/>
          </ac:spMkLst>
        </pc:spChg>
        <pc:spChg chg="mod">
          <ac:chgData name="Erick Moore" userId="96a732b2-26bb-45da-b8ee-37851dfdb22e" providerId="ADAL" clId="{A6768F3B-235C-4BDF-A79E-8DF5A2847A93}" dt="2021-06-18T18:59:19.508" v="8247"/>
          <ac:spMkLst>
            <pc:docMk/>
            <pc:sldMk cId="258342502" sldId="2145705943"/>
            <ac:spMk id="89" creationId="{40A64EE5-3D79-42D9-98F2-8F17563A7E40}"/>
          </ac:spMkLst>
        </pc:spChg>
        <pc:spChg chg="mod">
          <ac:chgData name="Erick Moore" userId="96a732b2-26bb-45da-b8ee-37851dfdb22e" providerId="ADAL" clId="{A6768F3B-235C-4BDF-A79E-8DF5A2847A93}" dt="2021-06-18T18:59:19.508" v="8247"/>
          <ac:spMkLst>
            <pc:docMk/>
            <pc:sldMk cId="258342502" sldId="2145705943"/>
            <ac:spMk id="90" creationId="{F234CB48-00FD-4274-98D4-9E9ED263EDF4}"/>
          </ac:spMkLst>
        </pc:spChg>
        <pc:spChg chg="mod">
          <ac:chgData name="Erick Moore" userId="96a732b2-26bb-45da-b8ee-37851dfdb22e" providerId="ADAL" clId="{A6768F3B-235C-4BDF-A79E-8DF5A2847A93}" dt="2021-06-18T18:59:19.508" v="8247"/>
          <ac:spMkLst>
            <pc:docMk/>
            <pc:sldMk cId="258342502" sldId="2145705943"/>
            <ac:spMk id="91" creationId="{52164C91-7C66-4715-840E-16D5D22CA882}"/>
          </ac:spMkLst>
        </pc:spChg>
        <pc:spChg chg="mod">
          <ac:chgData name="Erick Moore" userId="96a732b2-26bb-45da-b8ee-37851dfdb22e" providerId="ADAL" clId="{A6768F3B-235C-4BDF-A79E-8DF5A2847A93}" dt="2021-06-18T18:59:19.508" v="8247"/>
          <ac:spMkLst>
            <pc:docMk/>
            <pc:sldMk cId="258342502" sldId="2145705943"/>
            <ac:spMk id="92" creationId="{82A32CCF-BB82-4E1C-A4F0-84A88134CF41}"/>
          </ac:spMkLst>
        </pc:spChg>
        <pc:spChg chg="mod">
          <ac:chgData name="Erick Moore" userId="96a732b2-26bb-45da-b8ee-37851dfdb22e" providerId="ADAL" clId="{A6768F3B-235C-4BDF-A79E-8DF5A2847A93}" dt="2021-06-18T18:59:19.508" v="8247"/>
          <ac:spMkLst>
            <pc:docMk/>
            <pc:sldMk cId="258342502" sldId="2145705943"/>
            <ac:spMk id="93" creationId="{7BB66256-3E57-4B2B-B4B2-9CB87CB25B66}"/>
          </ac:spMkLst>
        </pc:spChg>
        <pc:spChg chg="mod">
          <ac:chgData name="Erick Moore" userId="96a732b2-26bb-45da-b8ee-37851dfdb22e" providerId="ADAL" clId="{A6768F3B-235C-4BDF-A79E-8DF5A2847A93}" dt="2021-06-18T18:59:19.508" v="8247"/>
          <ac:spMkLst>
            <pc:docMk/>
            <pc:sldMk cId="258342502" sldId="2145705943"/>
            <ac:spMk id="95" creationId="{78B6F1C5-AE90-4782-8568-305DB28C3BF1}"/>
          </ac:spMkLst>
        </pc:spChg>
        <pc:spChg chg="mod">
          <ac:chgData name="Erick Moore" userId="96a732b2-26bb-45da-b8ee-37851dfdb22e" providerId="ADAL" clId="{A6768F3B-235C-4BDF-A79E-8DF5A2847A93}" dt="2021-06-18T18:59:19.508" v="8247"/>
          <ac:spMkLst>
            <pc:docMk/>
            <pc:sldMk cId="258342502" sldId="2145705943"/>
            <ac:spMk id="96" creationId="{255A11E9-0DFF-49ED-97BD-FC21C3B0C0F7}"/>
          </ac:spMkLst>
        </pc:spChg>
        <pc:spChg chg="mod">
          <ac:chgData name="Erick Moore" userId="96a732b2-26bb-45da-b8ee-37851dfdb22e" providerId="ADAL" clId="{A6768F3B-235C-4BDF-A79E-8DF5A2847A93}" dt="2021-06-18T18:59:19.508" v="8247"/>
          <ac:spMkLst>
            <pc:docMk/>
            <pc:sldMk cId="258342502" sldId="2145705943"/>
            <ac:spMk id="97" creationId="{78FEA702-F79D-466F-95E5-8090FD5563EA}"/>
          </ac:spMkLst>
        </pc:spChg>
        <pc:spChg chg="mod">
          <ac:chgData name="Erick Moore" userId="96a732b2-26bb-45da-b8ee-37851dfdb22e" providerId="ADAL" clId="{A6768F3B-235C-4BDF-A79E-8DF5A2847A93}" dt="2021-06-18T18:59:19.508" v="8247"/>
          <ac:spMkLst>
            <pc:docMk/>
            <pc:sldMk cId="258342502" sldId="2145705943"/>
            <ac:spMk id="98" creationId="{05D610FD-EBAA-4102-8ADA-8EEA2C3E4E17}"/>
          </ac:spMkLst>
        </pc:spChg>
        <pc:spChg chg="mod">
          <ac:chgData name="Erick Moore" userId="96a732b2-26bb-45da-b8ee-37851dfdb22e" providerId="ADAL" clId="{A6768F3B-235C-4BDF-A79E-8DF5A2847A93}" dt="2021-06-18T18:59:19.508" v="8247"/>
          <ac:spMkLst>
            <pc:docMk/>
            <pc:sldMk cId="258342502" sldId="2145705943"/>
            <ac:spMk id="99" creationId="{1C9EE23B-A1ED-462D-BD40-6DF8CCAD6FAE}"/>
          </ac:spMkLst>
        </pc:spChg>
        <pc:spChg chg="mod">
          <ac:chgData name="Erick Moore" userId="96a732b2-26bb-45da-b8ee-37851dfdb22e" providerId="ADAL" clId="{A6768F3B-235C-4BDF-A79E-8DF5A2847A93}" dt="2021-06-18T18:59:19.508" v="8247"/>
          <ac:spMkLst>
            <pc:docMk/>
            <pc:sldMk cId="258342502" sldId="2145705943"/>
            <ac:spMk id="100" creationId="{7F1AD602-7B3F-4A5C-B821-37B72960F3FA}"/>
          </ac:spMkLst>
        </pc:spChg>
        <pc:spChg chg="mod">
          <ac:chgData name="Erick Moore" userId="96a732b2-26bb-45da-b8ee-37851dfdb22e" providerId="ADAL" clId="{A6768F3B-235C-4BDF-A79E-8DF5A2847A93}" dt="2021-06-18T18:59:19.508" v="8247"/>
          <ac:spMkLst>
            <pc:docMk/>
            <pc:sldMk cId="258342502" sldId="2145705943"/>
            <ac:spMk id="101" creationId="{20BB769B-767F-43F0-B1A1-2174CA8E444D}"/>
          </ac:spMkLst>
        </pc:spChg>
        <pc:spChg chg="mod">
          <ac:chgData name="Erick Moore" userId="96a732b2-26bb-45da-b8ee-37851dfdb22e" providerId="ADAL" clId="{A6768F3B-235C-4BDF-A79E-8DF5A2847A93}" dt="2021-06-18T18:59:19.508" v="8247"/>
          <ac:spMkLst>
            <pc:docMk/>
            <pc:sldMk cId="258342502" sldId="2145705943"/>
            <ac:spMk id="102" creationId="{9C6AC077-978E-4E1F-8D25-11769A17229B}"/>
          </ac:spMkLst>
        </pc:spChg>
        <pc:spChg chg="mod">
          <ac:chgData name="Erick Moore" userId="96a732b2-26bb-45da-b8ee-37851dfdb22e" providerId="ADAL" clId="{A6768F3B-235C-4BDF-A79E-8DF5A2847A93}" dt="2021-06-18T18:59:19.508" v="8247"/>
          <ac:spMkLst>
            <pc:docMk/>
            <pc:sldMk cId="258342502" sldId="2145705943"/>
            <ac:spMk id="107" creationId="{8C73A130-0A96-42CA-A53B-3AEDEB3467CA}"/>
          </ac:spMkLst>
        </pc:spChg>
        <pc:spChg chg="mod">
          <ac:chgData name="Erick Moore" userId="96a732b2-26bb-45da-b8ee-37851dfdb22e" providerId="ADAL" clId="{A6768F3B-235C-4BDF-A79E-8DF5A2847A93}" dt="2021-06-18T18:59:19.508" v="8247"/>
          <ac:spMkLst>
            <pc:docMk/>
            <pc:sldMk cId="258342502" sldId="2145705943"/>
            <ac:spMk id="108" creationId="{E0FBFDB0-C273-4044-81BF-51D6BE1D7F9C}"/>
          </ac:spMkLst>
        </pc:spChg>
        <pc:spChg chg="mod">
          <ac:chgData name="Erick Moore" userId="96a732b2-26bb-45da-b8ee-37851dfdb22e" providerId="ADAL" clId="{A6768F3B-235C-4BDF-A79E-8DF5A2847A93}" dt="2021-06-18T18:59:19.508" v="8247"/>
          <ac:spMkLst>
            <pc:docMk/>
            <pc:sldMk cId="258342502" sldId="2145705943"/>
            <ac:spMk id="109" creationId="{C4C25671-7005-418D-9D83-1264BC7FBD07}"/>
          </ac:spMkLst>
        </pc:spChg>
        <pc:spChg chg="mod">
          <ac:chgData name="Erick Moore" userId="96a732b2-26bb-45da-b8ee-37851dfdb22e" providerId="ADAL" clId="{A6768F3B-235C-4BDF-A79E-8DF5A2847A93}" dt="2021-06-18T18:59:19.508" v="8247"/>
          <ac:spMkLst>
            <pc:docMk/>
            <pc:sldMk cId="258342502" sldId="2145705943"/>
            <ac:spMk id="110" creationId="{8356ED97-BE53-4B87-A31D-8BC0E33D62DA}"/>
          </ac:spMkLst>
        </pc:spChg>
        <pc:spChg chg="mod">
          <ac:chgData name="Erick Moore" userId="96a732b2-26bb-45da-b8ee-37851dfdb22e" providerId="ADAL" clId="{A6768F3B-235C-4BDF-A79E-8DF5A2847A93}" dt="2021-06-18T18:59:19.508" v="8247"/>
          <ac:spMkLst>
            <pc:docMk/>
            <pc:sldMk cId="258342502" sldId="2145705943"/>
            <ac:spMk id="111" creationId="{3FB8AA5A-0DB6-4A1D-878E-F759D0C6264F}"/>
          </ac:spMkLst>
        </pc:spChg>
        <pc:spChg chg="mod">
          <ac:chgData name="Erick Moore" userId="96a732b2-26bb-45da-b8ee-37851dfdb22e" providerId="ADAL" clId="{A6768F3B-235C-4BDF-A79E-8DF5A2847A93}" dt="2021-06-18T18:59:19.508" v="8247"/>
          <ac:spMkLst>
            <pc:docMk/>
            <pc:sldMk cId="258342502" sldId="2145705943"/>
            <ac:spMk id="112" creationId="{EADEF5F4-A2AD-4687-8313-C488CF21D2D4}"/>
          </ac:spMkLst>
        </pc:spChg>
        <pc:spChg chg="mod">
          <ac:chgData name="Erick Moore" userId="96a732b2-26bb-45da-b8ee-37851dfdb22e" providerId="ADAL" clId="{A6768F3B-235C-4BDF-A79E-8DF5A2847A93}" dt="2021-06-18T18:59:19.508" v="8247"/>
          <ac:spMkLst>
            <pc:docMk/>
            <pc:sldMk cId="258342502" sldId="2145705943"/>
            <ac:spMk id="114" creationId="{A5B6862F-AEB7-4DFA-91DB-5D14F425EE1B}"/>
          </ac:spMkLst>
        </pc:spChg>
        <pc:spChg chg="mod">
          <ac:chgData name="Erick Moore" userId="96a732b2-26bb-45da-b8ee-37851dfdb22e" providerId="ADAL" clId="{A6768F3B-235C-4BDF-A79E-8DF5A2847A93}" dt="2021-06-18T18:59:19.508" v="8247"/>
          <ac:spMkLst>
            <pc:docMk/>
            <pc:sldMk cId="258342502" sldId="2145705943"/>
            <ac:spMk id="115" creationId="{788807D7-4260-43FA-BC6C-3AB80BCBAC56}"/>
          </ac:spMkLst>
        </pc:spChg>
        <pc:spChg chg="mod">
          <ac:chgData name="Erick Moore" userId="96a732b2-26bb-45da-b8ee-37851dfdb22e" providerId="ADAL" clId="{A6768F3B-235C-4BDF-A79E-8DF5A2847A93}" dt="2021-06-18T18:59:19.508" v="8247"/>
          <ac:spMkLst>
            <pc:docMk/>
            <pc:sldMk cId="258342502" sldId="2145705943"/>
            <ac:spMk id="116" creationId="{33334EB6-AA18-47B6-A0C0-D4202A177B1A}"/>
          </ac:spMkLst>
        </pc:spChg>
        <pc:spChg chg="mod">
          <ac:chgData name="Erick Moore" userId="96a732b2-26bb-45da-b8ee-37851dfdb22e" providerId="ADAL" clId="{A6768F3B-235C-4BDF-A79E-8DF5A2847A93}" dt="2021-06-18T18:59:19.508" v="8247"/>
          <ac:spMkLst>
            <pc:docMk/>
            <pc:sldMk cId="258342502" sldId="2145705943"/>
            <ac:spMk id="117" creationId="{C3EA712B-EEB1-4401-81EE-BDE0E97FB2D6}"/>
          </ac:spMkLst>
        </pc:spChg>
        <pc:spChg chg="mod">
          <ac:chgData name="Erick Moore" userId="96a732b2-26bb-45da-b8ee-37851dfdb22e" providerId="ADAL" clId="{A6768F3B-235C-4BDF-A79E-8DF5A2847A93}" dt="2021-06-18T18:59:19.508" v="8247"/>
          <ac:spMkLst>
            <pc:docMk/>
            <pc:sldMk cId="258342502" sldId="2145705943"/>
            <ac:spMk id="118" creationId="{65DD3805-F0DB-43FE-9164-4BE644F9C864}"/>
          </ac:spMkLst>
        </pc:spChg>
        <pc:spChg chg="mod">
          <ac:chgData name="Erick Moore" userId="96a732b2-26bb-45da-b8ee-37851dfdb22e" providerId="ADAL" clId="{A6768F3B-235C-4BDF-A79E-8DF5A2847A93}" dt="2021-06-18T18:59:19.508" v="8247"/>
          <ac:spMkLst>
            <pc:docMk/>
            <pc:sldMk cId="258342502" sldId="2145705943"/>
            <ac:spMk id="121" creationId="{F110C1D9-73E0-442D-8144-D57A52071E32}"/>
          </ac:spMkLst>
        </pc:spChg>
        <pc:spChg chg="mod">
          <ac:chgData name="Erick Moore" userId="96a732b2-26bb-45da-b8ee-37851dfdb22e" providerId="ADAL" clId="{A6768F3B-235C-4BDF-A79E-8DF5A2847A93}" dt="2021-06-18T18:59:19.508" v="8247"/>
          <ac:spMkLst>
            <pc:docMk/>
            <pc:sldMk cId="258342502" sldId="2145705943"/>
            <ac:spMk id="122" creationId="{7E711EB6-8D46-40B3-900A-D4AAA6DBE065}"/>
          </ac:spMkLst>
        </pc:spChg>
        <pc:spChg chg="mod">
          <ac:chgData name="Erick Moore" userId="96a732b2-26bb-45da-b8ee-37851dfdb22e" providerId="ADAL" clId="{A6768F3B-235C-4BDF-A79E-8DF5A2847A93}" dt="2021-06-18T18:59:19.508" v="8247"/>
          <ac:spMkLst>
            <pc:docMk/>
            <pc:sldMk cId="258342502" sldId="2145705943"/>
            <ac:spMk id="123" creationId="{178F4A26-A6C5-4807-963D-10FA9818BE0D}"/>
          </ac:spMkLst>
        </pc:spChg>
        <pc:spChg chg="mod">
          <ac:chgData name="Erick Moore" userId="96a732b2-26bb-45da-b8ee-37851dfdb22e" providerId="ADAL" clId="{A6768F3B-235C-4BDF-A79E-8DF5A2847A93}" dt="2021-06-18T18:59:19.508" v="8247"/>
          <ac:spMkLst>
            <pc:docMk/>
            <pc:sldMk cId="258342502" sldId="2145705943"/>
            <ac:spMk id="124" creationId="{E8A1E463-4FB6-46DE-87CA-0EE274028760}"/>
          </ac:spMkLst>
        </pc:spChg>
        <pc:spChg chg="mod">
          <ac:chgData name="Erick Moore" userId="96a732b2-26bb-45da-b8ee-37851dfdb22e" providerId="ADAL" clId="{A6768F3B-235C-4BDF-A79E-8DF5A2847A93}" dt="2021-06-18T18:59:19.508" v="8247"/>
          <ac:spMkLst>
            <pc:docMk/>
            <pc:sldMk cId="258342502" sldId="2145705943"/>
            <ac:spMk id="126" creationId="{18FEAA96-FFA4-4C80-B7D7-DB82C0E06C7A}"/>
          </ac:spMkLst>
        </pc:spChg>
        <pc:spChg chg="mod">
          <ac:chgData name="Erick Moore" userId="96a732b2-26bb-45da-b8ee-37851dfdb22e" providerId="ADAL" clId="{A6768F3B-235C-4BDF-A79E-8DF5A2847A93}" dt="2021-06-18T18:59:19.508" v="8247"/>
          <ac:spMkLst>
            <pc:docMk/>
            <pc:sldMk cId="258342502" sldId="2145705943"/>
            <ac:spMk id="136" creationId="{6EB5042F-1710-4D56-9F39-59FE556D6BF6}"/>
          </ac:spMkLst>
        </pc:spChg>
        <pc:grpChg chg="add mod">
          <ac:chgData name="Erick Moore" userId="96a732b2-26bb-45da-b8ee-37851dfdb22e" providerId="ADAL" clId="{A6768F3B-235C-4BDF-A79E-8DF5A2847A93}" dt="2021-06-18T19:01:50.083" v="8261" actId="164"/>
          <ac:grpSpMkLst>
            <pc:docMk/>
            <pc:sldMk cId="258342502" sldId="2145705943"/>
            <ac:grpSpMk id="2" creationId="{B5D7217E-ACF5-4668-A10D-EEC2387CB3AF}"/>
          </ac:grpSpMkLst>
        </pc:grpChg>
        <pc:grpChg chg="add mod">
          <ac:chgData name="Erick Moore" userId="96a732b2-26bb-45da-b8ee-37851dfdb22e" providerId="ADAL" clId="{A6768F3B-235C-4BDF-A79E-8DF5A2847A93}" dt="2021-06-18T19:01:59.943" v="8262" actId="164"/>
          <ac:grpSpMkLst>
            <pc:docMk/>
            <pc:sldMk cId="258342502" sldId="2145705943"/>
            <ac:grpSpMk id="3" creationId="{2DEF22C3-BBCC-43D2-BECC-F7522E3A1FC2}"/>
          </ac:grpSpMkLst>
        </pc:grpChg>
        <pc:grpChg chg="add mod">
          <ac:chgData name="Erick Moore" userId="96a732b2-26bb-45da-b8ee-37851dfdb22e" providerId="ADAL" clId="{A6768F3B-235C-4BDF-A79E-8DF5A2847A93}" dt="2021-06-18T19:02:04.570" v="8263" actId="164"/>
          <ac:grpSpMkLst>
            <pc:docMk/>
            <pc:sldMk cId="258342502" sldId="2145705943"/>
            <ac:grpSpMk id="4" creationId="{FCC099CD-C28E-4B3A-BCCE-DF0A1C0E89B7}"/>
          </ac:grpSpMkLst>
        </pc:grpChg>
        <pc:grpChg chg="add mod">
          <ac:chgData name="Erick Moore" userId="96a732b2-26bb-45da-b8ee-37851dfdb22e" providerId="ADAL" clId="{A6768F3B-235C-4BDF-A79E-8DF5A2847A93}" dt="2021-06-18T19:02:09.137" v="8264" actId="164"/>
          <ac:grpSpMkLst>
            <pc:docMk/>
            <pc:sldMk cId="258342502" sldId="2145705943"/>
            <ac:grpSpMk id="5" creationId="{78388AE8-570D-4FF1-8D73-62E42864756C}"/>
          </ac:grpSpMkLst>
        </pc:grpChg>
        <pc:grpChg chg="add mod">
          <ac:chgData name="Erick Moore" userId="96a732b2-26bb-45da-b8ee-37851dfdb22e" providerId="ADAL" clId="{A6768F3B-235C-4BDF-A79E-8DF5A2847A93}" dt="2021-06-18T19:02:14.522" v="8265" actId="164"/>
          <ac:grpSpMkLst>
            <pc:docMk/>
            <pc:sldMk cId="258342502" sldId="2145705943"/>
            <ac:grpSpMk id="7" creationId="{73137F17-BB9A-4A68-8066-5FE4559D033B}"/>
          </ac:grpSpMkLst>
        </pc:grpChg>
        <pc:grpChg chg="add mod">
          <ac:chgData name="Erick Moore" userId="96a732b2-26bb-45da-b8ee-37851dfdb22e" providerId="ADAL" clId="{A6768F3B-235C-4BDF-A79E-8DF5A2847A93}" dt="2021-06-18T19:03:05.244" v="8271" actId="164"/>
          <ac:grpSpMkLst>
            <pc:docMk/>
            <pc:sldMk cId="258342502" sldId="2145705943"/>
            <ac:grpSpMk id="8" creationId="{C39881B3-24D7-45C1-BD54-63189455F120}"/>
          </ac:grpSpMkLst>
        </pc:grpChg>
        <pc:grpChg chg="add mod">
          <ac:chgData name="Erick Moore" userId="96a732b2-26bb-45da-b8ee-37851dfdb22e" providerId="ADAL" clId="{A6768F3B-235C-4BDF-A79E-8DF5A2847A93}" dt="2021-06-18T19:03:10.263" v="8272" actId="164"/>
          <ac:grpSpMkLst>
            <pc:docMk/>
            <pc:sldMk cId="258342502" sldId="2145705943"/>
            <ac:grpSpMk id="9" creationId="{C8B8BE55-06CF-4B98-94B3-3943B08B9E3D}"/>
          </ac:grpSpMkLst>
        </pc:grpChg>
        <pc:grpChg chg="add mod">
          <ac:chgData name="Erick Moore" userId="96a732b2-26bb-45da-b8ee-37851dfdb22e" providerId="ADAL" clId="{A6768F3B-235C-4BDF-A79E-8DF5A2847A93}" dt="2021-06-18T19:03:14.538" v="8273" actId="164"/>
          <ac:grpSpMkLst>
            <pc:docMk/>
            <pc:sldMk cId="258342502" sldId="2145705943"/>
            <ac:grpSpMk id="11" creationId="{5F9B8244-1680-4427-B917-701A299DCB25}"/>
          </ac:grpSpMkLst>
        </pc:grpChg>
        <pc:grpChg chg="del">
          <ac:chgData name="Erick Moore" userId="96a732b2-26bb-45da-b8ee-37851dfdb22e" providerId="ADAL" clId="{A6768F3B-235C-4BDF-A79E-8DF5A2847A93}" dt="2021-06-18T18:58:54.173" v="8244" actId="478"/>
          <ac:grpSpMkLst>
            <pc:docMk/>
            <pc:sldMk cId="258342502" sldId="2145705943"/>
            <ac:grpSpMk id="20" creationId="{8ABB1EB8-4160-4A23-8C5D-F2D59FFC5CDD}"/>
          </ac:grpSpMkLst>
        </pc:grpChg>
        <pc:grpChg chg="del">
          <ac:chgData name="Erick Moore" userId="96a732b2-26bb-45da-b8ee-37851dfdb22e" providerId="ADAL" clId="{A6768F3B-235C-4BDF-A79E-8DF5A2847A93}" dt="2021-06-18T18:58:54.173" v="8244" actId="478"/>
          <ac:grpSpMkLst>
            <pc:docMk/>
            <pc:sldMk cId="258342502" sldId="2145705943"/>
            <ac:grpSpMk id="21" creationId="{0297255D-8D06-49DB-BAC5-04EEBD663050}"/>
          </ac:grpSpMkLst>
        </pc:grpChg>
        <pc:grpChg chg="del">
          <ac:chgData name="Erick Moore" userId="96a732b2-26bb-45da-b8ee-37851dfdb22e" providerId="ADAL" clId="{A6768F3B-235C-4BDF-A79E-8DF5A2847A93}" dt="2021-06-18T18:58:54.173" v="8244" actId="478"/>
          <ac:grpSpMkLst>
            <pc:docMk/>
            <pc:sldMk cId="258342502" sldId="2145705943"/>
            <ac:grpSpMk id="22" creationId="{80A8AFAD-CC33-4970-8C7B-65719E55FE3B}"/>
          </ac:grpSpMkLst>
        </pc:grpChg>
        <pc:grpChg chg="add del mod">
          <ac:chgData name="Erick Moore" userId="96a732b2-26bb-45da-b8ee-37851dfdb22e" providerId="ADAL" clId="{A6768F3B-235C-4BDF-A79E-8DF5A2847A93}" dt="2021-06-18T18:59:11.389" v="8246"/>
          <ac:grpSpMkLst>
            <pc:docMk/>
            <pc:sldMk cId="258342502" sldId="2145705943"/>
            <ac:grpSpMk id="29" creationId="{D31001AC-56F4-4E59-9C26-15DA1AFEE6C2}"/>
          </ac:grpSpMkLst>
        </pc:grpChg>
        <pc:grpChg chg="add del mod">
          <ac:chgData name="Erick Moore" userId="96a732b2-26bb-45da-b8ee-37851dfdb22e" providerId="ADAL" clId="{A6768F3B-235C-4BDF-A79E-8DF5A2847A93}" dt="2021-06-18T18:59:11.389" v="8246"/>
          <ac:grpSpMkLst>
            <pc:docMk/>
            <pc:sldMk cId="258342502" sldId="2145705943"/>
            <ac:grpSpMk id="36" creationId="{BCEC5D17-A163-4AB5-B851-C51BC2474A87}"/>
          </ac:grpSpMkLst>
        </pc:grpChg>
        <pc:grpChg chg="add del mod">
          <ac:chgData name="Erick Moore" userId="96a732b2-26bb-45da-b8ee-37851dfdb22e" providerId="ADAL" clId="{A6768F3B-235C-4BDF-A79E-8DF5A2847A93}" dt="2021-06-18T18:59:11.389" v="8246"/>
          <ac:grpSpMkLst>
            <pc:docMk/>
            <pc:sldMk cId="258342502" sldId="2145705943"/>
            <ac:grpSpMk id="48" creationId="{BAFC9781-C70F-49AC-B335-70420C0E5B29}"/>
          </ac:grpSpMkLst>
        </pc:grpChg>
        <pc:grpChg chg="add del mod">
          <ac:chgData name="Erick Moore" userId="96a732b2-26bb-45da-b8ee-37851dfdb22e" providerId="ADAL" clId="{A6768F3B-235C-4BDF-A79E-8DF5A2847A93}" dt="2021-06-18T18:59:11.389" v="8246"/>
          <ac:grpSpMkLst>
            <pc:docMk/>
            <pc:sldMk cId="258342502" sldId="2145705943"/>
            <ac:grpSpMk id="55" creationId="{1E141437-B57F-49FD-B2C0-1382C47FD766}"/>
          </ac:grpSpMkLst>
        </pc:grpChg>
        <pc:grpChg chg="add del mod">
          <ac:chgData name="Erick Moore" userId="96a732b2-26bb-45da-b8ee-37851dfdb22e" providerId="ADAL" clId="{A6768F3B-235C-4BDF-A79E-8DF5A2847A93}" dt="2021-06-18T18:59:11.389" v="8246"/>
          <ac:grpSpMkLst>
            <pc:docMk/>
            <pc:sldMk cId="258342502" sldId="2145705943"/>
            <ac:grpSpMk id="61" creationId="{4ACD73F6-CD30-4DD7-A830-D713DB2C1439}"/>
          </ac:grpSpMkLst>
        </pc:grpChg>
        <pc:grpChg chg="mod">
          <ac:chgData name="Erick Moore" userId="96a732b2-26bb-45da-b8ee-37851dfdb22e" providerId="ADAL" clId="{A6768F3B-235C-4BDF-A79E-8DF5A2847A93}" dt="2021-06-18T18:58:59.683" v="8245"/>
          <ac:grpSpMkLst>
            <pc:docMk/>
            <pc:sldMk cId="258342502" sldId="2145705943"/>
            <ac:grpSpMk id="62" creationId="{8E9E2F1A-DBC8-48AB-A0A0-80B27793EC3E}"/>
          </ac:grpSpMkLst>
        </pc:grpChg>
        <pc:grpChg chg="mod">
          <ac:chgData name="Erick Moore" userId="96a732b2-26bb-45da-b8ee-37851dfdb22e" providerId="ADAL" clId="{A6768F3B-235C-4BDF-A79E-8DF5A2847A93}" dt="2021-06-18T18:58:59.683" v="8245"/>
          <ac:grpSpMkLst>
            <pc:docMk/>
            <pc:sldMk cId="258342502" sldId="2145705943"/>
            <ac:grpSpMk id="67" creationId="{CEB1E5D6-D44F-4EBD-85AA-FFD5E1E5F45D}"/>
          </ac:grpSpMkLst>
        </pc:grpChg>
        <pc:grpChg chg="add del mod">
          <ac:chgData name="Erick Moore" userId="96a732b2-26bb-45da-b8ee-37851dfdb22e" providerId="ADAL" clId="{A6768F3B-235C-4BDF-A79E-8DF5A2847A93}" dt="2021-06-18T18:59:11.389" v="8246"/>
          <ac:grpSpMkLst>
            <pc:docMk/>
            <pc:sldMk cId="258342502" sldId="2145705943"/>
            <ac:grpSpMk id="75" creationId="{92CF2B6D-94E6-4A4F-A2E1-5CCDE783D2FF}"/>
          </ac:grpSpMkLst>
        </pc:grpChg>
        <pc:grpChg chg="add mod">
          <ac:chgData name="Erick Moore" userId="96a732b2-26bb-45da-b8ee-37851dfdb22e" providerId="ADAL" clId="{A6768F3B-235C-4BDF-A79E-8DF5A2847A93}" dt="2021-06-18T19:01:50.083" v="8261" actId="164"/>
          <ac:grpSpMkLst>
            <pc:docMk/>
            <pc:sldMk cId="258342502" sldId="2145705943"/>
            <ac:grpSpMk id="87" creationId="{747DC8CC-29F8-4D1B-8610-6F4BA31ED238}"/>
          </ac:grpSpMkLst>
        </pc:grpChg>
        <pc:grpChg chg="add mod">
          <ac:chgData name="Erick Moore" userId="96a732b2-26bb-45da-b8ee-37851dfdb22e" providerId="ADAL" clId="{A6768F3B-235C-4BDF-A79E-8DF5A2847A93}" dt="2021-06-18T19:02:04.570" v="8263" actId="164"/>
          <ac:grpSpMkLst>
            <pc:docMk/>
            <pc:sldMk cId="258342502" sldId="2145705943"/>
            <ac:grpSpMk id="94" creationId="{EFC615C9-489C-4312-BAA4-6543518EC145}"/>
          </ac:grpSpMkLst>
        </pc:grpChg>
        <pc:grpChg chg="add mod">
          <ac:chgData name="Erick Moore" userId="96a732b2-26bb-45da-b8ee-37851dfdb22e" providerId="ADAL" clId="{A6768F3B-235C-4BDF-A79E-8DF5A2847A93}" dt="2021-06-18T19:03:10.263" v="8272" actId="164"/>
          <ac:grpSpMkLst>
            <pc:docMk/>
            <pc:sldMk cId="258342502" sldId="2145705943"/>
            <ac:grpSpMk id="106" creationId="{6427C104-4B05-40BC-A735-5726941C97E5}"/>
          </ac:grpSpMkLst>
        </pc:grpChg>
        <pc:grpChg chg="add mod">
          <ac:chgData name="Erick Moore" userId="96a732b2-26bb-45da-b8ee-37851dfdb22e" providerId="ADAL" clId="{A6768F3B-235C-4BDF-A79E-8DF5A2847A93}" dt="2021-06-18T19:03:14.538" v="8273" actId="164"/>
          <ac:grpSpMkLst>
            <pc:docMk/>
            <pc:sldMk cId="258342502" sldId="2145705943"/>
            <ac:grpSpMk id="113" creationId="{3DE68958-310C-46D5-9B3F-7100F3C8FB39}"/>
          </ac:grpSpMkLst>
        </pc:grpChg>
        <pc:grpChg chg="add mod">
          <ac:chgData name="Erick Moore" userId="96a732b2-26bb-45da-b8ee-37851dfdb22e" providerId="ADAL" clId="{A6768F3B-235C-4BDF-A79E-8DF5A2847A93}" dt="2021-06-18T19:01:59.943" v="8262" actId="164"/>
          <ac:grpSpMkLst>
            <pc:docMk/>
            <pc:sldMk cId="258342502" sldId="2145705943"/>
            <ac:grpSpMk id="119" creationId="{E4D44636-0425-4F47-9A61-A0006AA27057}"/>
          </ac:grpSpMkLst>
        </pc:grpChg>
        <pc:grpChg chg="mod">
          <ac:chgData name="Erick Moore" userId="96a732b2-26bb-45da-b8ee-37851dfdb22e" providerId="ADAL" clId="{A6768F3B-235C-4BDF-A79E-8DF5A2847A93}" dt="2021-06-18T18:59:19.508" v="8247"/>
          <ac:grpSpMkLst>
            <pc:docMk/>
            <pc:sldMk cId="258342502" sldId="2145705943"/>
            <ac:grpSpMk id="120" creationId="{5E52D46D-6CEB-4DAC-942B-E37A82DE34C2}"/>
          </ac:grpSpMkLst>
        </pc:grpChg>
        <pc:grpChg chg="mod">
          <ac:chgData name="Erick Moore" userId="96a732b2-26bb-45da-b8ee-37851dfdb22e" providerId="ADAL" clId="{A6768F3B-235C-4BDF-A79E-8DF5A2847A93}" dt="2021-06-18T18:59:19.508" v="8247"/>
          <ac:grpSpMkLst>
            <pc:docMk/>
            <pc:sldMk cId="258342502" sldId="2145705943"/>
            <ac:grpSpMk id="125" creationId="{6446603C-FC0B-4FA6-94FA-B363586322B1}"/>
          </ac:grpSpMkLst>
        </pc:grpChg>
        <pc:grpChg chg="add mod">
          <ac:chgData name="Erick Moore" userId="96a732b2-26bb-45da-b8ee-37851dfdb22e" providerId="ADAL" clId="{A6768F3B-235C-4BDF-A79E-8DF5A2847A93}" dt="2021-06-18T19:01:59.943" v="8262" actId="164"/>
          <ac:grpSpMkLst>
            <pc:docMk/>
            <pc:sldMk cId="258342502" sldId="2145705943"/>
            <ac:grpSpMk id="133" creationId="{64E4AF0F-36B5-45D2-8F6D-2AD347711910}"/>
          </ac:grpSpMkLst>
        </pc:grpChg>
        <pc:picChg chg="add del mod">
          <ac:chgData name="Erick Moore" userId="96a732b2-26bb-45da-b8ee-37851dfdb22e" providerId="ADAL" clId="{A6768F3B-235C-4BDF-A79E-8DF5A2847A93}" dt="2021-06-18T18:59:11.389" v="8246"/>
          <ac:picMkLst>
            <pc:docMk/>
            <pc:sldMk cId="258342502" sldId="2145705943"/>
            <ac:picMk id="45" creationId="{50B1FEDE-2A82-4F73-9F16-FF05BC1B1731}"/>
          </ac:picMkLst>
        </pc:picChg>
        <pc:picChg chg="add del mod">
          <ac:chgData name="Erick Moore" userId="96a732b2-26bb-45da-b8ee-37851dfdb22e" providerId="ADAL" clId="{A6768F3B-235C-4BDF-A79E-8DF5A2847A93}" dt="2021-06-18T18:59:11.389" v="8246"/>
          <ac:picMkLst>
            <pc:docMk/>
            <pc:sldMk cId="258342502" sldId="2145705943"/>
            <ac:picMk id="46" creationId="{757B48EB-0197-40AA-8865-2C534BD05B0F}"/>
          </ac:picMkLst>
        </pc:picChg>
        <pc:picChg chg="add del mod">
          <ac:chgData name="Erick Moore" userId="96a732b2-26bb-45da-b8ee-37851dfdb22e" providerId="ADAL" clId="{A6768F3B-235C-4BDF-A79E-8DF5A2847A93}" dt="2021-06-18T18:59:11.389" v="8246"/>
          <ac:picMkLst>
            <pc:docMk/>
            <pc:sldMk cId="258342502" sldId="2145705943"/>
            <ac:picMk id="47" creationId="{32F95C7B-A726-4BC6-931E-B4C42E6F7C4C}"/>
          </ac:picMkLst>
        </pc:picChg>
        <pc:picChg chg="add mod">
          <ac:chgData name="Erick Moore" userId="96a732b2-26bb-45da-b8ee-37851dfdb22e" providerId="ADAL" clId="{A6768F3B-235C-4BDF-A79E-8DF5A2847A93}" dt="2021-06-18T19:02:54.742" v="8270"/>
          <ac:picMkLst>
            <pc:docMk/>
            <pc:sldMk cId="258342502" sldId="2145705943"/>
            <ac:picMk id="103" creationId="{63D7DEBA-5FF6-4C80-B978-EC82E37F187B}"/>
          </ac:picMkLst>
        </pc:picChg>
        <pc:picChg chg="add mod">
          <ac:chgData name="Erick Moore" userId="96a732b2-26bb-45da-b8ee-37851dfdb22e" providerId="ADAL" clId="{A6768F3B-235C-4BDF-A79E-8DF5A2847A93}" dt="2021-06-18T19:02:14.522" v="8265" actId="164"/>
          <ac:picMkLst>
            <pc:docMk/>
            <pc:sldMk cId="258342502" sldId="2145705943"/>
            <ac:picMk id="104" creationId="{052C837B-918D-47B7-8903-6F248E9A565C}"/>
          </ac:picMkLst>
        </pc:picChg>
        <pc:picChg chg="add mod">
          <ac:chgData name="Erick Moore" userId="96a732b2-26bb-45da-b8ee-37851dfdb22e" providerId="ADAL" clId="{A6768F3B-235C-4BDF-A79E-8DF5A2847A93}" dt="2021-06-18T19:03:05.244" v="8271" actId="164"/>
          <ac:picMkLst>
            <pc:docMk/>
            <pc:sldMk cId="258342502" sldId="2145705943"/>
            <ac:picMk id="105" creationId="{134CD9D7-D4D7-4612-85BF-7039E58A34C1}"/>
          </ac:picMkLst>
        </pc:picChg>
        <pc:cxnChg chg="del">
          <ac:chgData name="Erick Moore" userId="96a732b2-26bb-45da-b8ee-37851dfdb22e" providerId="ADAL" clId="{A6768F3B-235C-4BDF-A79E-8DF5A2847A93}" dt="2021-06-18T18:58:54.173" v="8244" actId="478"/>
          <ac:cxnSpMkLst>
            <pc:docMk/>
            <pc:sldMk cId="258342502" sldId="2145705943"/>
            <ac:cxnSpMk id="6" creationId="{9AB2CE20-4D59-4730-8264-45BD9B0FB861}"/>
          </ac:cxnSpMkLst>
        </pc:cxnChg>
        <pc:cxnChg chg="mod">
          <ac:chgData name="Erick Moore" userId="96a732b2-26bb-45da-b8ee-37851dfdb22e" providerId="ADAL" clId="{A6768F3B-235C-4BDF-A79E-8DF5A2847A93}" dt="2021-06-18T18:58:59.683" v="8245"/>
          <ac:cxnSpMkLst>
            <pc:docMk/>
            <pc:sldMk cId="258342502" sldId="2145705943"/>
            <ac:cxnSpMk id="69" creationId="{FD4B6D3D-DBD4-4793-9DF8-0DF182976BEB}"/>
          </ac:cxnSpMkLst>
        </pc:cxnChg>
        <pc:cxnChg chg="mod">
          <ac:chgData name="Erick Moore" userId="96a732b2-26bb-45da-b8ee-37851dfdb22e" providerId="ADAL" clId="{A6768F3B-235C-4BDF-A79E-8DF5A2847A93}" dt="2021-06-18T18:58:59.683" v="8245"/>
          <ac:cxnSpMkLst>
            <pc:docMk/>
            <pc:sldMk cId="258342502" sldId="2145705943"/>
            <ac:cxnSpMk id="70" creationId="{14592E40-8451-434B-9EB9-250D6AF44324}"/>
          </ac:cxnSpMkLst>
        </pc:cxnChg>
        <pc:cxnChg chg="mod">
          <ac:chgData name="Erick Moore" userId="96a732b2-26bb-45da-b8ee-37851dfdb22e" providerId="ADAL" clId="{A6768F3B-235C-4BDF-A79E-8DF5A2847A93}" dt="2021-06-18T18:58:59.683" v="8245"/>
          <ac:cxnSpMkLst>
            <pc:docMk/>
            <pc:sldMk cId="258342502" sldId="2145705943"/>
            <ac:cxnSpMk id="71" creationId="{FF5BB132-7CBF-47BE-BD54-3FAA04355FE3}"/>
          </ac:cxnSpMkLst>
        </pc:cxnChg>
        <pc:cxnChg chg="mod">
          <ac:chgData name="Erick Moore" userId="96a732b2-26bb-45da-b8ee-37851dfdb22e" providerId="ADAL" clId="{A6768F3B-235C-4BDF-A79E-8DF5A2847A93}" dt="2021-06-18T18:58:59.683" v="8245"/>
          <ac:cxnSpMkLst>
            <pc:docMk/>
            <pc:sldMk cId="258342502" sldId="2145705943"/>
            <ac:cxnSpMk id="72" creationId="{C9A2C999-6E7E-41C7-A05F-B78558AD29F7}"/>
          </ac:cxnSpMkLst>
        </pc:cxnChg>
        <pc:cxnChg chg="mod">
          <ac:chgData name="Erick Moore" userId="96a732b2-26bb-45da-b8ee-37851dfdb22e" providerId="ADAL" clId="{A6768F3B-235C-4BDF-A79E-8DF5A2847A93}" dt="2021-06-18T18:58:59.683" v="8245"/>
          <ac:cxnSpMkLst>
            <pc:docMk/>
            <pc:sldMk cId="258342502" sldId="2145705943"/>
            <ac:cxnSpMk id="73" creationId="{32253D46-D05E-418C-9B5F-9F663FE00B7B}"/>
          </ac:cxnSpMkLst>
        </pc:cxnChg>
        <pc:cxnChg chg="mod">
          <ac:chgData name="Erick Moore" userId="96a732b2-26bb-45da-b8ee-37851dfdb22e" providerId="ADAL" clId="{A6768F3B-235C-4BDF-A79E-8DF5A2847A93}" dt="2021-06-18T18:58:59.683" v="8245"/>
          <ac:cxnSpMkLst>
            <pc:docMk/>
            <pc:sldMk cId="258342502" sldId="2145705943"/>
            <ac:cxnSpMk id="74" creationId="{73AAFD2C-0482-40D0-B2D2-C52056096544}"/>
          </ac:cxnSpMkLst>
        </pc:cxnChg>
        <pc:cxnChg chg="mod">
          <ac:chgData name="Erick Moore" userId="96a732b2-26bb-45da-b8ee-37851dfdb22e" providerId="ADAL" clId="{A6768F3B-235C-4BDF-A79E-8DF5A2847A93}" dt="2021-06-18T18:58:59.683" v="8245"/>
          <ac:cxnSpMkLst>
            <pc:docMk/>
            <pc:sldMk cId="258342502" sldId="2145705943"/>
            <ac:cxnSpMk id="76" creationId="{C0F48339-8E51-4674-AD7F-6E66833FDCDB}"/>
          </ac:cxnSpMkLst>
        </pc:cxnChg>
        <pc:cxnChg chg="mod">
          <ac:chgData name="Erick Moore" userId="96a732b2-26bb-45da-b8ee-37851dfdb22e" providerId="ADAL" clId="{A6768F3B-235C-4BDF-A79E-8DF5A2847A93}" dt="2021-06-18T18:58:59.683" v="8245"/>
          <ac:cxnSpMkLst>
            <pc:docMk/>
            <pc:sldMk cId="258342502" sldId="2145705943"/>
            <ac:cxnSpMk id="77" creationId="{7D64F645-5D9D-4D41-B039-70476E345589}"/>
          </ac:cxnSpMkLst>
        </pc:cxnChg>
        <pc:cxnChg chg="mod">
          <ac:chgData name="Erick Moore" userId="96a732b2-26bb-45da-b8ee-37851dfdb22e" providerId="ADAL" clId="{A6768F3B-235C-4BDF-A79E-8DF5A2847A93}" dt="2021-06-18T18:59:19.508" v="8247"/>
          <ac:cxnSpMkLst>
            <pc:docMk/>
            <pc:sldMk cId="258342502" sldId="2145705943"/>
            <ac:cxnSpMk id="127" creationId="{B804342F-2DF6-49F3-8B1C-589A8FA33238}"/>
          </ac:cxnSpMkLst>
        </pc:cxnChg>
        <pc:cxnChg chg="mod">
          <ac:chgData name="Erick Moore" userId="96a732b2-26bb-45da-b8ee-37851dfdb22e" providerId="ADAL" clId="{A6768F3B-235C-4BDF-A79E-8DF5A2847A93}" dt="2021-06-18T18:59:19.508" v="8247"/>
          <ac:cxnSpMkLst>
            <pc:docMk/>
            <pc:sldMk cId="258342502" sldId="2145705943"/>
            <ac:cxnSpMk id="128" creationId="{0C9EB256-E77E-4288-9169-552E6CD0206E}"/>
          </ac:cxnSpMkLst>
        </pc:cxnChg>
        <pc:cxnChg chg="mod">
          <ac:chgData name="Erick Moore" userId="96a732b2-26bb-45da-b8ee-37851dfdb22e" providerId="ADAL" clId="{A6768F3B-235C-4BDF-A79E-8DF5A2847A93}" dt="2021-06-18T18:59:19.508" v="8247"/>
          <ac:cxnSpMkLst>
            <pc:docMk/>
            <pc:sldMk cId="258342502" sldId="2145705943"/>
            <ac:cxnSpMk id="129" creationId="{37C73944-6959-41C0-810B-1E8B2AD289C6}"/>
          </ac:cxnSpMkLst>
        </pc:cxnChg>
        <pc:cxnChg chg="mod">
          <ac:chgData name="Erick Moore" userId="96a732b2-26bb-45da-b8ee-37851dfdb22e" providerId="ADAL" clId="{A6768F3B-235C-4BDF-A79E-8DF5A2847A93}" dt="2021-06-18T18:59:19.508" v="8247"/>
          <ac:cxnSpMkLst>
            <pc:docMk/>
            <pc:sldMk cId="258342502" sldId="2145705943"/>
            <ac:cxnSpMk id="130" creationId="{C57CD5E0-6FCA-4CB7-B500-1E8C76898B41}"/>
          </ac:cxnSpMkLst>
        </pc:cxnChg>
        <pc:cxnChg chg="mod">
          <ac:chgData name="Erick Moore" userId="96a732b2-26bb-45da-b8ee-37851dfdb22e" providerId="ADAL" clId="{A6768F3B-235C-4BDF-A79E-8DF5A2847A93}" dt="2021-06-18T18:59:19.508" v="8247"/>
          <ac:cxnSpMkLst>
            <pc:docMk/>
            <pc:sldMk cId="258342502" sldId="2145705943"/>
            <ac:cxnSpMk id="131" creationId="{FE429C50-D109-4DA8-9FE7-5FEB852F003B}"/>
          </ac:cxnSpMkLst>
        </pc:cxnChg>
        <pc:cxnChg chg="mod">
          <ac:chgData name="Erick Moore" userId="96a732b2-26bb-45da-b8ee-37851dfdb22e" providerId="ADAL" clId="{A6768F3B-235C-4BDF-A79E-8DF5A2847A93}" dt="2021-06-18T18:59:19.508" v="8247"/>
          <ac:cxnSpMkLst>
            <pc:docMk/>
            <pc:sldMk cId="258342502" sldId="2145705943"/>
            <ac:cxnSpMk id="132" creationId="{DE8E7B43-FF9D-4DCC-9987-5E146CEF216F}"/>
          </ac:cxnSpMkLst>
        </pc:cxnChg>
        <pc:cxnChg chg="mod">
          <ac:chgData name="Erick Moore" userId="96a732b2-26bb-45da-b8ee-37851dfdb22e" providerId="ADAL" clId="{A6768F3B-235C-4BDF-A79E-8DF5A2847A93}" dt="2021-06-18T18:59:19.508" v="8247"/>
          <ac:cxnSpMkLst>
            <pc:docMk/>
            <pc:sldMk cId="258342502" sldId="2145705943"/>
            <ac:cxnSpMk id="134" creationId="{8758C538-14B6-432D-9BA6-464DDB69ED96}"/>
          </ac:cxnSpMkLst>
        </pc:cxnChg>
        <pc:cxnChg chg="mod">
          <ac:chgData name="Erick Moore" userId="96a732b2-26bb-45da-b8ee-37851dfdb22e" providerId="ADAL" clId="{A6768F3B-235C-4BDF-A79E-8DF5A2847A93}" dt="2021-06-18T18:59:19.508" v="8247"/>
          <ac:cxnSpMkLst>
            <pc:docMk/>
            <pc:sldMk cId="258342502" sldId="2145705943"/>
            <ac:cxnSpMk id="135" creationId="{5C3DE053-7438-4D7A-BDCC-CE0EC1461AB6}"/>
          </ac:cxnSpMkLst>
        </pc:cxnChg>
      </pc:sldChg>
      <pc:sldChg chg="addSp modSp add mod">
        <pc:chgData name="Erick Moore" userId="96a732b2-26bb-45da-b8ee-37851dfdb22e" providerId="ADAL" clId="{A6768F3B-235C-4BDF-A79E-8DF5A2847A93}" dt="2021-06-24T14:09:30.087" v="14163" actId="20577"/>
        <pc:sldMkLst>
          <pc:docMk/>
          <pc:sldMk cId="2739922447" sldId="2145705944"/>
        </pc:sldMkLst>
        <pc:spChg chg="mod">
          <ac:chgData name="Erick Moore" userId="96a732b2-26bb-45da-b8ee-37851dfdb22e" providerId="ADAL" clId="{A6768F3B-235C-4BDF-A79E-8DF5A2847A93}" dt="2021-06-22T13:20:32.797" v="9567" actId="6549"/>
          <ac:spMkLst>
            <pc:docMk/>
            <pc:sldMk cId="2739922447" sldId="2145705944"/>
            <ac:spMk id="27" creationId="{C3D7BFB0-2FEE-42AE-8273-78D9586CAA0C}"/>
          </ac:spMkLst>
        </pc:spChg>
        <pc:spChg chg="mod">
          <ac:chgData name="Erick Moore" userId="96a732b2-26bb-45da-b8ee-37851dfdb22e" providerId="ADAL" clId="{A6768F3B-235C-4BDF-A79E-8DF5A2847A93}" dt="2021-06-24T14:09:30.087" v="14163" actId="20577"/>
          <ac:spMkLst>
            <pc:docMk/>
            <pc:sldMk cId="2739922447" sldId="2145705944"/>
            <ac:spMk id="80" creationId="{0DFBB600-612E-4C68-BABC-6A88A79D1923}"/>
          </ac:spMkLst>
        </pc:spChg>
        <pc:picChg chg="add mod">
          <ac:chgData name="Erick Moore" userId="96a732b2-26bb-45da-b8ee-37851dfdb22e" providerId="ADAL" clId="{A6768F3B-235C-4BDF-A79E-8DF5A2847A93}" dt="2021-06-24T11:26:53.268" v="10820"/>
          <ac:picMkLst>
            <pc:docMk/>
            <pc:sldMk cId="2739922447" sldId="2145705944"/>
            <ac:picMk id="46" creationId="{1DC32E7D-2DE8-479E-A61B-88E359053C79}"/>
          </ac:picMkLst>
        </pc:picChg>
      </pc:sldChg>
      <pc:sldChg chg="addSp delSp modSp mod ord delAnim modNotesTx">
        <pc:chgData name="Erick Moore" userId="96a732b2-26bb-45da-b8ee-37851dfdb22e" providerId="ADAL" clId="{A6768F3B-235C-4BDF-A79E-8DF5A2847A93}" dt="2021-06-24T11:25:59.422" v="10818"/>
        <pc:sldMkLst>
          <pc:docMk/>
          <pc:sldMk cId="4043095027" sldId="2145705945"/>
        </pc:sldMkLst>
        <pc:spChg chg="del">
          <ac:chgData name="Erick Moore" userId="96a732b2-26bb-45da-b8ee-37851dfdb22e" providerId="ADAL" clId="{A6768F3B-235C-4BDF-A79E-8DF5A2847A93}" dt="2021-06-22T13:01:54.544" v="9338" actId="478"/>
          <ac:spMkLst>
            <pc:docMk/>
            <pc:sldMk cId="4043095027" sldId="2145705945"/>
            <ac:spMk id="5" creationId="{C89727F4-A5CA-452E-998A-A6DA0F3D5DCE}"/>
          </ac:spMkLst>
        </pc:spChg>
        <pc:spChg chg="del">
          <ac:chgData name="Erick Moore" userId="96a732b2-26bb-45da-b8ee-37851dfdb22e" providerId="ADAL" clId="{A6768F3B-235C-4BDF-A79E-8DF5A2847A93}" dt="2021-06-22T13:01:56.493" v="9339" actId="478"/>
          <ac:spMkLst>
            <pc:docMk/>
            <pc:sldMk cId="4043095027" sldId="2145705945"/>
            <ac:spMk id="24" creationId="{CDAD056C-B68F-405D-B3CD-7138A8A5B44C}"/>
          </ac:spMkLst>
        </pc:spChg>
        <pc:spChg chg="mod">
          <ac:chgData name="Erick Moore" userId="96a732b2-26bb-45da-b8ee-37851dfdb22e" providerId="ADAL" clId="{A6768F3B-235C-4BDF-A79E-8DF5A2847A93}" dt="2021-06-22T13:04:55.403" v="9424" actId="20577"/>
          <ac:spMkLst>
            <pc:docMk/>
            <pc:sldMk cId="4043095027" sldId="2145705945"/>
            <ac:spMk id="27" creationId="{C3D7BFB0-2FEE-42AE-8273-78D9586CAA0C}"/>
          </ac:spMkLst>
        </pc:spChg>
        <pc:spChg chg="del">
          <ac:chgData name="Erick Moore" userId="96a732b2-26bb-45da-b8ee-37851dfdb22e" providerId="ADAL" clId="{A6768F3B-235C-4BDF-A79E-8DF5A2847A93}" dt="2021-06-22T13:03:10.111" v="9352" actId="478"/>
          <ac:spMkLst>
            <pc:docMk/>
            <pc:sldMk cId="4043095027" sldId="2145705945"/>
            <ac:spMk id="28" creationId="{F96A5723-82EF-406F-B172-1B591C911480}"/>
          </ac:spMkLst>
        </pc:spChg>
        <pc:spChg chg="mod">
          <ac:chgData name="Erick Moore" userId="96a732b2-26bb-45da-b8ee-37851dfdb22e" providerId="ADAL" clId="{A6768F3B-235C-4BDF-A79E-8DF5A2847A93}" dt="2021-06-22T13:14:55.810" v="9455"/>
          <ac:spMkLst>
            <pc:docMk/>
            <pc:sldMk cId="4043095027" sldId="2145705945"/>
            <ac:spMk id="37" creationId="{8B76ED04-4E0C-470E-BC62-A3D85B0C87B0}"/>
          </ac:spMkLst>
        </pc:spChg>
        <pc:spChg chg="del">
          <ac:chgData name="Erick Moore" userId="96a732b2-26bb-45da-b8ee-37851dfdb22e" providerId="ADAL" clId="{A6768F3B-235C-4BDF-A79E-8DF5A2847A93}" dt="2021-06-22T13:02:14.112" v="9341" actId="478"/>
          <ac:spMkLst>
            <pc:docMk/>
            <pc:sldMk cId="4043095027" sldId="2145705945"/>
            <ac:spMk id="55" creationId="{3B59BA89-EE65-43D9-A999-E1712D3DDA66}"/>
          </ac:spMkLst>
        </pc:spChg>
        <pc:spChg chg="add mod">
          <ac:chgData name="Erick Moore" userId="96a732b2-26bb-45da-b8ee-37851dfdb22e" providerId="ADAL" clId="{A6768F3B-235C-4BDF-A79E-8DF5A2847A93}" dt="2021-06-22T13:16:20.112" v="9513" actId="20577"/>
          <ac:spMkLst>
            <pc:docMk/>
            <pc:sldMk cId="4043095027" sldId="2145705945"/>
            <ac:spMk id="58" creationId="{5C4C3845-B898-4B2F-BBD9-BB6A779D4968}"/>
          </ac:spMkLst>
        </pc:spChg>
        <pc:spChg chg="mod">
          <ac:chgData name="Erick Moore" userId="96a732b2-26bb-45da-b8ee-37851dfdb22e" providerId="ADAL" clId="{A6768F3B-235C-4BDF-A79E-8DF5A2847A93}" dt="2021-06-22T13:16:26.547" v="9514" actId="207"/>
          <ac:spMkLst>
            <pc:docMk/>
            <pc:sldMk cId="4043095027" sldId="2145705945"/>
            <ac:spMk id="63" creationId="{4B9B8F3D-9F99-4AF7-8EE4-21F391BBAE19}"/>
          </ac:spMkLst>
        </pc:spChg>
        <pc:spChg chg="add mod">
          <ac:chgData name="Erick Moore" userId="96a732b2-26bb-45da-b8ee-37851dfdb22e" providerId="ADAL" clId="{A6768F3B-235C-4BDF-A79E-8DF5A2847A93}" dt="2021-06-22T13:19:01.398" v="9551" actId="20577"/>
          <ac:spMkLst>
            <pc:docMk/>
            <pc:sldMk cId="4043095027" sldId="2145705945"/>
            <ac:spMk id="64" creationId="{4372DE2B-560E-489F-AF26-C9A408984177}"/>
          </ac:spMkLst>
        </pc:spChg>
        <pc:spChg chg="mod">
          <ac:chgData name="Erick Moore" userId="96a732b2-26bb-45da-b8ee-37851dfdb22e" providerId="ADAL" clId="{A6768F3B-235C-4BDF-A79E-8DF5A2847A93}" dt="2021-06-22T13:15:37.631" v="9489" actId="20577"/>
          <ac:spMkLst>
            <pc:docMk/>
            <pc:sldMk cId="4043095027" sldId="2145705945"/>
            <ac:spMk id="65" creationId="{4AC47D64-5044-4248-A761-7F7DC896630F}"/>
          </ac:spMkLst>
        </pc:spChg>
        <pc:spChg chg="mod">
          <ac:chgData name="Erick Moore" userId="96a732b2-26bb-45da-b8ee-37851dfdb22e" providerId="ADAL" clId="{A6768F3B-235C-4BDF-A79E-8DF5A2847A93}" dt="2021-06-22T13:15:07.813" v="9473" actId="20577"/>
          <ac:spMkLst>
            <pc:docMk/>
            <pc:sldMk cId="4043095027" sldId="2145705945"/>
            <ac:spMk id="73" creationId="{ED4A94FD-88E4-4C48-9EB5-E50F0FF2FA2F}"/>
          </ac:spMkLst>
        </pc:spChg>
        <pc:spChg chg="del">
          <ac:chgData name="Erick Moore" userId="96a732b2-26bb-45da-b8ee-37851dfdb22e" providerId="ADAL" clId="{A6768F3B-235C-4BDF-A79E-8DF5A2847A93}" dt="2021-06-22T13:02:25.502" v="9344" actId="478"/>
          <ac:spMkLst>
            <pc:docMk/>
            <pc:sldMk cId="4043095027" sldId="2145705945"/>
            <ac:spMk id="78" creationId="{50E29A94-B2E5-44C3-9D60-14C191BBE55F}"/>
          </ac:spMkLst>
        </pc:spChg>
        <pc:spChg chg="mod">
          <ac:chgData name="Erick Moore" userId="96a732b2-26bb-45da-b8ee-37851dfdb22e" providerId="ADAL" clId="{A6768F3B-235C-4BDF-A79E-8DF5A2847A93}" dt="2021-06-22T13:15:32.168" v="9475" actId="20577"/>
          <ac:spMkLst>
            <pc:docMk/>
            <pc:sldMk cId="4043095027" sldId="2145705945"/>
            <ac:spMk id="79" creationId="{9654B180-1802-4B13-8BFD-6E1B0EBA07E8}"/>
          </ac:spMkLst>
        </pc:spChg>
        <pc:spChg chg="del">
          <ac:chgData name="Erick Moore" userId="96a732b2-26bb-45da-b8ee-37851dfdb22e" providerId="ADAL" clId="{A6768F3B-235C-4BDF-A79E-8DF5A2847A93}" dt="2021-06-22T13:02:21.764" v="9342" actId="478"/>
          <ac:spMkLst>
            <pc:docMk/>
            <pc:sldMk cId="4043095027" sldId="2145705945"/>
            <ac:spMk id="80" creationId="{0DFBB600-612E-4C68-BABC-6A88A79D1923}"/>
          </ac:spMkLst>
        </pc:spChg>
        <pc:spChg chg="del">
          <ac:chgData name="Erick Moore" userId="96a732b2-26bb-45da-b8ee-37851dfdb22e" providerId="ADAL" clId="{A6768F3B-235C-4BDF-A79E-8DF5A2847A93}" dt="2021-06-22T13:03:10.111" v="9352" actId="478"/>
          <ac:spMkLst>
            <pc:docMk/>
            <pc:sldMk cId="4043095027" sldId="2145705945"/>
            <ac:spMk id="127" creationId="{B0362FBD-F599-4D9B-927A-94E231B6E330}"/>
          </ac:spMkLst>
        </pc:spChg>
        <pc:grpChg chg="del">
          <ac:chgData name="Erick Moore" userId="96a732b2-26bb-45da-b8ee-37851dfdb22e" providerId="ADAL" clId="{A6768F3B-235C-4BDF-A79E-8DF5A2847A93}" dt="2021-06-22T13:02:31.940" v="9347" actId="478"/>
          <ac:grpSpMkLst>
            <pc:docMk/>
            <pc:sldMk cId="4043095027" sldId="2145705945"/>
            <ac:grpSpMk id="2" creationId="{B720366F-DBA7-47E4-8B8F-88FCDE676536}"/>
          </ac:grpSpMkLst>
        </pc:grpChg>
        <pc:grpChg chg="del">
          <ac:chgData name="Erick Moore" userId="96a732b2-26bb-45da-b8ee-37851dfdb22e" providerId="ADAL" clId="{A6768F3B-235C-4BDF-A79E-8DF5A2847A93}" dt="2021-06-22T13:04:10.415" v="9395" actId="478"/>
          <ac:grpSpMkLst>
            <pc:docMk/>
            <pc:sldMk cId="4043095027" sldId="2145705945"/>
            <ac:grpSpMk id="6" creationId="{492ACDB9-BD4E-47BE-9F69-95DF7C347AE0}"/>
          </ac:grpSpMkLst>
        </pc:grpChg>
        <pc:grpChg chg="add mod">
          <ac:chgData name="Erick Moore" userId="96a732b2-26bb-45da-b8ee-37851dfdb22e" providerId="ADAL" clId="{A6768F3B-235C-4BDF-A79E-8DF5A2847A93}" dt="2021-06-22T13:13:49.460" v="9446"/>
          <ac:grpSpMkLst>
            <pc:docMk/>
            <pc:sldMk cId="4043095027" sldId="2145705945"/>
            <ac:grpSpMk id="60" creationId="{920CE7C5-466E-43F9-A4BB-0E27CC5BBDC5}"/>
          </ac:grpSpMkLst>
        </pc:grpChg>
        <pc:grpChg chg="del">
          <ac:chgData name="Erick Moore" userId="96a732b2-26bb-45da-b8ee-37851dfdb22e" providerId="ADAL" clId="{A6768F3B-235C-4BDF-A79E-8DF5A2847A93}" dt="2021-06-22T13:04:44.829" v="9418" actId="478"/>
          <ac:grpSpMkLst>
            <pc:docMk/>
            <pc:sldMk cId="4043095027" sldId="2145705945"/>
            <ac:grpSpMk id="68" creationId="{CB1C77F3-4C76-46EC-9495-08132B8C528D}"/>
          </ac:grpSpMkLst>
        </pc:grpChg>
        <pc:picChg chg="del">
          <ac:chgData name="Erick Moore" userId="96a732b2-26bb-45da-b8ee-37851dfdb22e" providerId="ADAL" clId="{A6768F3B-235C-4BDF-A79E-8DF5A2847A93}" dt="2021-06-22T13:03:10.111" v="9352" actId="478"/>
          <ac:picMkLst>
            <pc:docMk/>
            <pc:sldMk cId="4043095027" sldId="2145705945"/>
            <ac:picMk id="8" creationId="{4C74D349-ABBE-4F05-AC49-9B8C3E418E8C}"/>
          </ac:picMkLst>
        </pc:picChg>
        <pc:picChg chg="add mod">
          <ac:chgData name="Erick Moore" userId="96a732b2-26bb-45da-b8ee-37851dfdb22e" providerId="ADAL" clId="{A6768F3B-235C-4BDF-A79E-8DF5A2847A93}" dt="2021-06-24T11:25:59.422" v="10818"/>
          <ac:picMkLst>
            <pc:docMk/>
            <pc:sldMk cId="4043095027" sldId="2145705945"/>
            <ac:picMk id="39" creationId="{6CD59BBB-5E30-4C0D-A5BE-560C99CE28E9}"/>
          </ac:picMkLst>
        </pc:picChg>
        <pc:picChg chg="add mod">
          <ac:chgData name="Erick Moore" userId="96a732b2-26bb-45da-b8ee-37851dfdb22e" providerId="ADAL" clId="{A6768F3B-235C-4BDF-A79E-8DF5A2847A93}" dt="2021-06-22T13:03:24.615" v="9358" actId="1038"/>
          <ac:picMkLst>
            <pc:docMk/>
            <pc:sldMk cId="4043095027" sldId="2145705945"/>
            <ac:picMk id="54" creationId="{B2F53FA3-34AF-4F33-8145-493B812DE959}"/>
          </ac:picMkLst>
        </pc:picChg>
        <pc:picChg chg="mod">
          <ac:chgData name="Erick Moore" userId="96a732b2-26bb-45da-b8ee-37851dfdb22e" providerId="ADAL" clId="{A6768F3B-235C-4BDF-A79E-8DF5A2847A93}" dt="2021-06-22T13:13:49.460" v="9446"/>
          <ac:picMkLst>
            <pc:docMk/>
            <pc:sldMk cId="4043095027" sldId="2145705945"/>
            <ac:picMk id="61" creationId="{B609DAEB-86F1-4B72-B47A-898FB28FE7CF}"/>
          </ac:picMkLst>
        </pc:picChg>
        <pc:picChg chg="del">
          <ac:chgData name="Erick Moore" userId="96a732b2-26bb-45da-b8ee-37851dfdb22e" providerId="ADAL" clId="{A6768F3B-235C-4BDF-A79E-8DF5A2847A93}" dt="2021-06-22T13:03:10.111" v="9352" actId="478"/>
          <ac:picMkLst>
            <pc:docMk/>
            <pc:sldMk cId="4043095027" sldId="2145705945"/>
            <ac:picMk id="126" creationId="{CA9036ED-A59B-4C78-9499-F2664DD37C06}"/>
          </ac:picMkLst>
        </pc:picChg>
        <pc:cxnChg chg="del">
          <ac:chgData name="Erick Moore" userId="96a732b2-26bb-45da-b8ee-37851dfdb22e" providerId="ADAL" clId="{A6768F3B-235C-4BDF-A79E-8DF5A2847A93}" dt="2021-06-22T13:20:07.377" v="9565" actId="478"/>
          <ac:cxnSpMkLst>
            <pc:docMk/>
            <pc:sldMk cId="4043095027" sldId="2145705945"/>
            <ac:cxnSpMk id="22" creationId="{64B18E2D-5F41-4722-8964-B87F1B93A77A}"/>
          </ac:cxnSpMkLst>
        </pc:cxnChg>
        <pc:cxnChg chg="del mod">
          <ac:chgData name="Erick Moore" userId="96a732b2-26bb-45da-b8ee-37851dfdb22e" providerId="ADAL" clId="{A6768F3B-235C-4BDF-A79E-8DF5A2847A93}" dt="2021-06-22T13:05:43.641" v="9425" actId="478"/>
          <ac:cxnSpMkLst>
            <pc:docMk/>
            <pc:sldMk cId="4043095027" sldId="2145705945"/>
            <ac:cxnSpMk id="33" creationId="{ADE1FA6E-F2BF-4B84-8793-713DFC93BFE1}"/>
          </ac:cxnSpMkLst>
        </pc:cxnChg>
        <pc:cxnChg chg="del mod">
          <ac:chgData name="Erick Moore" userId="96a732b2-26bb-45da-b8ee-37851dfdb22e" providerId="ADAL" clId="{A6768F3B-235C-4BDF-A79E-8DF5A2847A93}" dt="2021-06-22T13:02:33.389" v="9348" actId="478"/>
          <ac:cxnSpMkLst>
            <pc:docMk/>
            <pc:sldMk cId="4043095027" sldId="2145705945"/>
            <ac:cxnSpMk id="57" creationId="{7ED2358F-E159-4A4D-919F-6242C9A99BD0}"/>
          </ac:cxnSpMkLst>
        </pc:cxnChg>
        <pc:cxnChg chg="add mod">
          <ac:chgData name="Erick Moore" userId="96a732b2-26bb-45da-b8ee-37851dfdb22e" providerId="ADAL" clId="{A6768F3B-235C-4BDF-A79E-8DF5A2847A93}" dt="2021-06-22T13:03:15.696" v="9354" actId="1076"/>
          <ac:cxnSpMkLst>
            <pc:docMk/>
            <pc:sldMk cId="4043095027" sldId="2145705945"/>
            <ac:cxnSpMk id="59" creationId="{D9C38A41-651C-46B5-98D3-39E9EDACD528}"/>
          </ac:cxnSpMkLst>
        </pc:cxnChg>
        <pc:cxnChg chg="del mod">
          <ac:chgData name="Erick Moore" userId="96a732b2-26bb-45da-b8ee-37851dfdb22e" providerId="ADAL" clId="{A6768F3B-235C-4BDF-A79E-8DF5A2847A93}" dt="2021-06-22T13:02:28.823" v="9346" actId="478"/>
          <ac:cxnSpMkLst>
            <pc:docMk/>
            <pc:sldMk cId="4043095027" sldId="2145705945"/>
            <ac:cxnSpMk id="62" creationId="{D47A359D-2D4F-49CC-B081-827E3F8D1711}"/>
          </ac:cxnSpMkLst>
        </pc:cxnChg>
        <pc:cxnChg chg="add mod">
          <ac:chgData name="Erick Moore" userId="96a732b2-26bb-45da-b8ee-37851dfdb22e" providerId="ADAL" clId="{A6768F3B-235C-4BDF-A79E-8DF5A2847A93}" dt="2021-06-22T13:16:52.591" v="9520" actId="14100"/>
          <ac:cxnSpMkLst>
            <pc:docMk/>
            <pc:sldMk cId="4043095027" sldId="2145705945"/>
            <ac:cxnSpMk id="74" creationId="{C0894BF0-3057-4CD3-95ED-687C1159F2E6}"/>
          </ac:cxnSpMkLst>
        </pc:cxnChg>
        <pc:cxnChg chg="add mod">
          <ac:chgData name="Erick Moore" userId="96a732b2-26bb-45da-b8ee-37851dfdb22e" providerId="ADAL" clId="{A6768F3B-235C-4BDF-A79E-8DF5A2847A93}" dt="2021-06-22T13:17:12.137" v="9523" actId="14100"/>
          <ac:cxnSpMkLst>
            <pc:docMk/>
            <pc:sldMk cId="4043095027" sldId="2145705945"/>
            <ac:cxnSpMk id="75" creationId="{ABFE52E4-5668-4EE8-9D69-AE5F002E36E3}"/>
          </ac:cxnSpMkLst>
        </pc:cxnChg>
        <pc:cxnChg chg="mod">
          <ac:chgData name="Erick Moore" userId="96a732b2-26bb-45da-b8ee-37851dfdb22e" providerId="ADAL" clId="{A6768F3B-235C-4BDF-A79E-8DF5A2847A93}" dt="2021-06-22T13:16:40.501" v="9516" actId="14100"/>
          <ac:cxnSpMkLst>
            <pc:docMk/>
            <pc:sldMk cId="4043095027" sldId="2145705945"/>
            <ac:cxnSpMk id="89" creationId="{61B77B97-F8B2-4206-892E-231365A78AB0}"/>
          </ac:cxnSpMkLst>
        </pc:cxnChg>
        <pc:cxnChg chg="mod">
          <ac:chgData name="Erick Moore" userId="96a732b2-26bb-45da-b8ee-37851dfdb22e" providerId="ADAL" clId="{A6768F3B-235C-4BDF-A79E-8DF5A2847A93}" dt="2021-06-22T13:14:40.643" v="9449" actId="14100"/>
          <ac:cxnSpMkLst>
            <pc:docMk/>
            <pc:sldMk cId="4043095027" sldId="2145705945"/>
            <ac:cxnSpMk id="93" creationId="{7D70EA44-E1FB-48F7-AB15-30835CB93E84}"/>
          </ac:cxnSpMkLst>
        </pc:cxnChg>
        <pc:cxnChg chg="del mod">
          <ac:chgData name="Erick Moore" userId="96a732b2-26bb-45da-b8ee-37851dfdb22e" providerId="ADAL" clId="{A6768F3B-235C-4BDF-A79E-8DF5A2847A93}" dt="2021-06-22T13:02:34.462" v="9349" actId="478"/>
          <ac:cxnSpMkLst>
            <pc:docMk/>
            <pc:sldMk cId="4043095027" sldId="2145705945"/>
            <ac:cxnSpMk id="100" creationId="{A31B1039-7912-4A4B-B8C0-92238AE7F64D}"/>
          </ac:cxnSpMkLst>
        </pc:cxnChg>
        <pc:cxnChg chg="del mod">
          <ac:chgData name="Erick Moore" userId="96a732b2-26bb-45da-b8ee-37851dfdb22e" providerId="ADAL" clId="{A6768F3B-235C-4BDF-A79E-8DF5A2847A93}" dt="2021-06-22T13:02:27.669" v="9345" actId="478"/>
          <ac:cxnSpMkLst>
            <pc:docMk/>
            <pc:sldMk cId="4043095027" sldId="2145705945"/>
            <ac:cxnSpMk id="104" creationId="{692DA063-B990-42A0-8429-252A6D06C857}"/>
          </ac:cxnSpMkLst>
        </pc:cxnChg>
        <pc:cxnChg chg="mod">
          <ac:chgData name="Erick Moore" userId="96a732b2-26bb-45da-b8ee-37851dfdb22e" providerId="ADAL" clId="{A6768F3B-235C-4BDF-A79E-8DF5A2847A93}" dt="2021-06-22T13:02:31.940" v="9347" actId="478"/>
          <ac:cxnSpMkLst>
            <pc:docMk/>
            <pc:sldMk cId="4043095027" sldId="2145705945"/>
            <ac:cxnSpMk id="112" creationId="{439BCF7B-9DDD-4665-A82F-8031BB254450}"/>
          </ac:cxnSpMkLst>
        </pc:cxnChg>
        <pc:cxnChg chg="mod">
          <ac:chgData name="Erick Moore" userId="96a732b2-26bb-45da-b8ee-37851dfdb22e" providerId="ADAL" clId="{A6768F3B-235C-4BDF-A79E-8DF5A2847A93}" dt="2021-06-22T13:02:31.940" v="9347" actId="478"/>
          <ac:cxnSpMkLst>
            <pc:docMk/>
            <pc:sldMk cId="4043095027" sldId="2145705945"/>
            <ac:cxnSpMk id="116" creationId="{F5B5136B-B422-46F9-B44D-419FE0626EF7}"/>
          </ac:cxnSpMkLst>
        </pc:cxnChg>
      </pc:sldChg>
      <pc:sldChg chg="addSp delSp modSp mod modNotesTx">
        <pc:chgData name="Erick Moore" userId="96a732b2-26bb-45da-b8ee-37851dfdb22e" providerId="ADAL" clId="{A6768F3B-235C-4BDF-A79E-8DF5A2847A93}" dt="2021-06-24T14:08:03.052" v="14140" actId="478"/>
        <pc:sldMkLst>
          <pc:docMk/>
          <pc:sldMk cId="2931763207" sldId="2145705946"/>
        </pc:sldMkLst>
        <pc:spChg chg="del">
          <ac:chgData name="Erick Moore" userId="96a732b2-26bb-45da-b8ee-37851dfdb22e" providerId="ADAL" clId="{A6768F3B-235C-4BDF-A79E-8DF5A2847A93}" dt="2021-06-23T17:02:35.458" v="10765" actId="478"/>
          <ac:spMkLst>
            <pc:docMk/>
            <pc:sldMk cId="2931763207" sldId="2145705946"/>
            <ac:spMk id="16" creationId="{FBA75586-599E-45E1-A3E8-40E1594EB09E}"/>
          </ac:spMkLst>
        </pc:spChg>
        <pc:spChg chg="mod">
          <ac:chgData name="Erick Moore" userId="96a732b2-26bb-45da-b8ee-37851dfdb22e" providerId="ADAL" clId="{A6768F3B-235C-4BDF-A79E-8DF5A2847A93}" dt="2021-06-23T17:00:58.896" v="10759" actId="20577"/>
          <ac:spMkLst>
            <pc:docMk/>
            <pc:sldMk cId="2931763207" sldId="2145705946"/>
            <ac:spMk id="27" creationId="{C3D7BFB0-2FEE-42AE-8273-78D9586CAA0C}"/>
          </ac:spMkLst>
        </pc:spChg>
        <pc:graphicFrameChg chg="add mod modGraphic">
          <ac:chgData name="Erick Moore" userId="96a732b2-26bb-45da-b8ee-37851dfdb22e" providerId="ADAL" clId="{A6768F3B-235C-4BDF-A79E-8DF5A2847A93}" dt="2021-06-23T17:07:00.750" v="10808"/>
          <ac:graphicFrameMkLst>
            <pc:docMk/>
            <pc:sldMk cId="2931763207" sldId="2145705946"/>
            <ac:graphicFrameMk id="2" creationId="{DC858710-2AD9-4FE8-80A5-3039BF7E324C}"/>
          </ac:graphicFrameMkLst>
        </pc:graphicFrameChg>
        <pc:graphicFrameChg chg="del">
          <ac:chgData name="Erick Moore" userId="96a732b2-26bb-45da-b8ee-37851dfdb22e" providerId="ADAL" clId="{A6768F3B-235C-4BDF-A79E-8DF5A2847A93}" dt="2021-06-23T17:02:21.324" v="10760" actId="478"/>
          <ac:graphicFrameMkLst>
            <pc:docMk/>
            <pc:sldMk cId="2931763207" sldId="2145705946"/>
            <ac:graphicFrameMk id="3" creationId="{574E80A3-860D-4A12-B7C0-EB68A405BCA6}"/>
          </ac:graphicFrameMkLst>
        </pc:graphicFrameChg>
        <pc:cxnChg chg="del">
          <ac:chgData name="Erick Moore" userId="96a732b2-26bb-45da-b8ee-37851dfdb22e" providerId="ADAL" clId="{A6768F3B-235C-4BDF-A79E-8DF5A2847A93}" dt="2021-06-24T14:08:03.052" v="14140" actId="478"/>
          <ac:cxnSpMkLst>
            <pc:docMk/>
            <pc:sldMk cId="2931763207" sldId="2145705946"/>
            <ac:cxnSpMk id="22" creationId="{64B18E2D-5F41-4722-8964-B87F1B93A77A}"/>
          </ac:cxnSpMkLst>
        </pc:cxnChg>
      </pc:sldChg>
      <pc:sldMasterChg chg="delSldLayout">
        <pc:chgData name="Erick Moore" userId="96a732b2-26bb-45da-b8ee-37851dfdb22e" providerId="ADAL" clId="{A6768F3B-235C-4BDF-A79E-8DF5A2847A93}" dt="2021-06-18T15:51:00.978" v="7776" actId="2696"/>
        <pc:sldMasterMkLst>
          <pc:docMk/>
          <pc:sldMasterMk cId="946682479" sldId="2147485450"/>
        </pc:sldMasterMkLst>
        <pc:sldLayoutChg chg="del">
          <pc:chgData name="Erick Moore" userId="96a732b2-26bb-45da-b8ee-37851dfdb22e" providerId="ADAL" clId="{A6768F3B-235C-4BDF-A79E-8DF5A2847A93}" dt="2021-06-18T15:51:00.978" v="7776" actId="2696"/>
          <pc:sldLayoutMkLst>
            <pc:docMk/>
            <pc:sldMasterMk cId="946682479" sldId="2147485450"/>
            <pc:sldLayoutMk cId="3765558439" sldId="2147485483"/>
          </pc:sldLayoutMkLst>
        </pc:sldLayoutChg>
      </pc:sldMasterChg>
    </pc:docChg>
  </pc:docChgLst>
  <pc:docChgLst>
    <pc:chgData name="Erick Moore" userId="96a732b2-26bb-45da-b8ee-37851dfdb22e" providerId="ADAL" clId="{B61422AF-55D0-4095-B324-0CB95E577DDC}"/>
    <pc:docChg chg="custSel addSld delSld modSld sldOrd">
      <pc:chgData name="Erick Moore" userId="96a732b2-26bb-45da-b8ee-37851dfdb22e" providerId="ADAL" clId="{B61422AF-55D0-4095-B324-0CB95E577DDC}" dt="2021-12-06T15:12:08.024" v="168" actId="729"/>
      <pc:docMkLst>
        <pc:docMk/>
      </pc:docMkLst>
      <pc:sldChg chg="modSp mod">
        <pc:chgData name="Erick Moore" userId="96a732b2-26bb-45da-b8ee-37851dfdb22e" providerId="ADAL" clId="{B61422AF-55D0-4095-B324-0CB95E577DDC}" dt="2021-12-06T13:15:00.338" v="0" actId="1076"/>
        <pc:sldMkLst>
          <pc:docMk/>
          <pc:sldMk cId="2957638688" sldId="2076136473"/>
        </pc:sldMkLst>
        <pc:picChg chg="mod">
          <ac:chgData name="Erick Moore" userId="96a732b2-26bb-45da-b8ee-37851dfdb22e" providerId="ADAL" clId="{B61422AF-55D0-4095-B324-0CB95E577DDC}" dt="2021-12-06T13:15:00.338" v="0" actId="1076"/>
          <ac:picMkLst>
            <pc:docMk/>
            <pc:sldMk cId="2957638688" sldId="2076136473"/>
            <ac:picMk id="10" creationId="{3A644E8A-43E9-4F46-84EF-05FE6493957F}"/>
          </ac:picMkLst>
        </pc:picChg>
      </pc:sldChg>
      <pc:sldChg chg="delSp mod">
        <pc:chgData name="Erick Moore" userId="96a732b2-26bb-45da-b8ee-37851dfdb22e" providerId="ADAL" clId="{B61422AF-55D0-4095-B324-0CB95E577DDC}" dt="2021-12-06T13:28:08.944" v="1" actId="478"/>
        <pc:sldMkLst>
          <pc:docMk/>
          <pc:sldMk cId="1070539773" sldId="2076137153"/>
        </pc:sldMkLst>
        <pc:picChg chg="del">
          <ac:chgData name="Erick Moore" userId="96a732b2-26bb-45da-b8ee-37851dfdb22e" providerId="ADAL" clId="{B61422AF-55D0-4095-B324-0CB95E577DDC}" dt="2021-12-06T13:28:08.944" v="1" actId="478"/>
          <ac:picMkLst>
            <pc:docMk/>
            <pc:sldMk cId="1070539773" sldId="2076137153"/>
            <ac:picMk id="9" creationId="{5A5356EC-20C5-4E20-8D70-08E3D9D9D659}"/>
          </ac:picMkLst>
        </pc:picChg>
      </pc:sldChg>
      <pc:sldChg chg="addSp delSp modSp mod modClrScheme delCm chgLayout">
        <pc:chgData name="Erick Moore" userId="96a732b2-26bb-45da-b8ee-37851dfdb22e" providerId="ADAL" clId="{B61422AF-55D0-4095-B324-0CB95E577DDC}" dt="2021-12-06T13:33:10.301" v="154" actId="1076"/>
        <pc:sldMkLst>
          <pc:docMk/>
          <pc:sldMk cId="2069725814" sldId="2076137939"/>
        </pc:sldMkLst>
        <pc:spChg chg="mod ord">
          <ac:chgData name="Erick Moore" userId="96a732b2-26bb-45da-b8ee-37851dfdb22e" providerId="ADAL" clId="{B61422AF-55D0-4095-B324-0CB95E577DDC}" dt="2021-12-06T13:32:43.517" v="147" actId="1076"/>
          <ac:spMkLst>
            <pc:docMk/>
            <pc:sldMk cId="2069725814" sldId="2076137939"/>
            <ac:spMk id="2" creationId="{11B89988-DBBE-4995-A971-E9E08105E14F}"/>
          </ac:spMkLst>
        </pc:spChg>
        <pc:spChg chg="mod ord">
          <ac:chgData name="Erick Moore" userId="96a732b2-26bb-45da-b8ee-37851dfdb22e" providerId="ADAL" clId="{B61422AF-55D0-4095-B324-0CB95E577DDC}" dt="2021-12-06T13:33:10.301" v="154" actId="1076"/>
          <ac:spMkLst>
            <pc:docMk/>
            <pc:sldMk cId="2069725814" sldId="2076137939"/>
            <ac:spMk id="3" creationId="{2C63DFDA-8637-4082-A042-07C920B63B05}"/>
          </ac:spMkLst>
        </pc:spChg>
        <pc:spChg chg="del mod">
          <ac:chgData name="Erick Moore" userId="96a732b2-26bb-45da-b8ee-37851dfdb22e" providerId="ADAL" clId="{B61422AF-55D0-4095-B324-0CB95E577DDC}" dt="2021-12-06T13:31:18.235" v="19" actId="478"/>
          <ac:spMkLst>
            <pc:docMk/>
            <pc:sldMk cId="2069725814" sldId="2076137939"/>
            <ac:spMk id="4" creationId="{72C9FE05-70C0-4E54-9D95-0F457C35CF29}"/>
          </ac:spMkLst>
        </pc:spChg>
        <pc:spChg chg="del">
          <ac:chgData name="Erick Moore" userId="96a732b2-26bb-45da-b8ee-37851dfdb22e" providerId="ADAL" clId="{B61422AF-55D0-4095-B324-0CB95E577DDC}" dt="2021-12-06T13:30:48.735" v="16" actId="478"/>
          <ac:spMkLst>
            <pc:docMk/>
            <pc:sldMk cId="2069725814" sldId="2076137939"/>
            <ac:spMk id="6" creationId="{70140CC1-1E18-46D7-AE99-D15871D3A2F7}"/>
          </ac:spMkLst>
        </pc:spChg>
        <pc:spChg chg="del">
          <ac:chgData name="Erick Moore" userId="96a732b2-26bb-45da-b8ee-37851dfdb22e" providerId="ADAL" clId="{B61422AF-55D0-4095-B324-0CB95E577DDC}" dt="2021-12-06T13:29:18.651" v="7" actId="478"/>
          <ac:spMkLst>
            <pc:docMk/>
            <pc:sldMk cId="2069725814" sldId="2076137939"/>
            <ac:spMk id="9" creationId="{C97456F9-E928-46C1-8078-54F406B1E6B5}"/>
          </ac:spMkLst>
        </pc:spChg>
        <pc:grpChg chg="del mod">
          <ac:chgData name="Erick Moore" userId="96a732b2-26bb-45da-b8ee-37851dfdb22e" providerId="ADAL" clId="{B61422AF-55D0-4095-B324-0CB95E577DDC}" dt="2021-12-06T13:31:19.425" v="20" actId="478"/>
          <ac:grpSpMkLst>
            <pc:docMk/>
            <pc:sldMk cId="2069725814" sldId="2076137939"/>
            <ac:grpSpMk id="5" creationId="{DA75AE04-AB9A-463B-8D50-5BCA183F7C6B}"/>
          </ac:grpSpMkLst>
        </pc:grpChg>
        <pc:picChg chg="mod">
          <ac:chgData name="Erick Moore" userId="96a732b2-26bb-45da-b8ee-37851dfdb22e" providerId="ADAL" clId="{B61422AF-55D0-4095-B324-0CB95E577DDC}" dt="2021-12-06T13:32:57.215" v="151" actId="1076"/>
          <ac:picMkLst>
            <pc:docMk/>
            <pc:sldMk cId="2069725814" sldId="2076137939"/>
            <ac:picMk id="4098" creationId="{9BB21486-4A80-47B9-A22B-EDD1ABD2B744}"/>
          </ac:picMkLst>
        </pc:picChg>
        <pc:cxnChg chg="add mod">
          <ac:chgData name="Erick Moore" userId="96a732b2-26bb-45da-b8ee-37851dfdb22e" providerId="ADAL" clId="{B61422AF-55D0-4095-B324-0CB95E577DDC}" dt="2021-12-06T13:32:17.549" v="137"/>
          <ac:cxnSpMkLst>
            <pc:docMk/>
            <pc:sldMk cId="2069725814" sldId="2076137939"/>
            <ac:cxnSpMk id="13" creationId="{BC12C92C-116D-42A6-A565-8DF35EC13F1E}"/>
          </ac:cxnSpMkLst>
        </pc:cxnChg>
      </pc:sldChg>
      <pc:sldChg chg="ord">
        <pc:chgData name="Erick Moore" userId="96a732b2-26bb-45da-b8ee-37851dfdb22e" providerId="ADAL" clId="{B61422AF-55D0-4095-B324-0CB95E577DDC}" dt="2021-12-06T13:48:47.684" v="165"/>
        <pc:sldMkLst>
          <pc:docMk/>
          <pc:sldMk cId="1652592379" sldId="2145705966"/>
        </pc:sldMkLst>
      </pc:sldChg>
      <pc:sldChg chg="ord">
        <pc:chgData name="Erick Moore" userId="96a732b2-26bb-45da-b8ee-37851dfdb22e" providerId="ADAL" clId="{B61422AF-55D0-4095-B324-0CB95E577DDC}" dt="2021-12-06T13:48:54.423" v="167"/>
        <pc:sldMkLst>
          <pc:docMk/>
          <pc:sldMk cId="2098099604" sldId="2145705969"/>
        </pc:sldMkLst>
      </pc:sldChg>
      <pc:sldChg chg="ord">
        <pc:chgData name="Erick Moore" userId="96a732b2-26bb-45da-b8ee-37851dfdb22e" providerId="ADAL" clId="{B61422AF-55D0-4095-B324-0CB95E577DDC}" dt="2021-12-06T13:48:47.684" v="165"/>
        <pc:sldMkLst>
          <pc:docMk/>
          <pc:sldMk cId="2592150698" sldId="2145705970"/>
        </pc:sldMkLst>
      </pc:sldChg>
      <pc:sldChg chg="del">
        <pc:chgData name="Erick Moore" userId="96a732b2-26bb-45da-b8ee-37851dfdb22e" providerId="ADAL" clId="{B61422AF-55D0-4095-B324-0CB95E577DDC}" dt="2021-12-06T13:47:08.949" v="157" actId="2696"/>
        <pc:sldMkLst>
          <pc:docMk/>
          <pc:sldMk cId="623522613" sldId="2145705971"/>
        </pc:sldMkLst>
      </pc:sldChg>
      <pc:sldChg chg="del">
        <pc:chgData name="Erick Moore" userId="96a732b2-26bb-45da-b8ee-37851dfdb22e" providerId="ADAL" clId="{B61422AF-55D0-4095-B324-0CB95E577DDC}" dt="2021-12-06T13:47:08.949" v="157" actId="2696"/>
        <pc:sldMkLst>
          <pc:docMk/>
          <pc:sldMk cId="957674933" sldId="2145705972"/>
        </pc:sldMkLst>
      </pc:sldChg>
      <pc:sldChg chg="ord">
        <pc:chgData name="Erick Moore" userId="96a732b2-26bb-45da-b8ee-37851dfdb22e" providerId="ADAL" clId="{B61422AF-55D0-4095-B324-0CB95E577DDC}" dt="2021-12-06T13:48:26.968" v="163"/>
        <pc:sldMkLst>
          <pc:docMk/>
          <pc:sldMk cId="3488994755" sldId="2145705974"/>
        </pc:sldMkLst>
      </pc:sldChg>
      <pc:sldChg chg="del">
        <pc:chgData name="Erick Moore" userId="96a732b2-26bb-45da-b8ee-37851dfdb22e" providerId="ADAL" clId="{B61422AF-55D0-4095-B324-0CB95E577DDC}" dt="2021-12-06T13:47:08.949" v="157" actId="2696"/>
        <pc:sldMkLst>
          <pc:docMk/>
          <pc:sldMk cId="83375380" sldId="2145705987"/>
        </pc:sldMkLst>
      </pc:sldChg>
      <pc:sldChg chg="add">
        <pc:chgData name="Erick Moore" userId="96a732b2-26bb-45da-b8ee-37851dfdb22e" providerId="ADAL" clId="{B61422AF-55D0-4095-B324-0CB95E577DDC}" dt="2021-12-06T13:47:26.750" v="159"/>
        <pc:sldMkLst>
          <pc:docMk/>
          <pc:sldMk cId="1307010060" sldId="2145705987"/>
        </pc:sldMkLst>
      </pc:sldChg>
      <pc:sldChg chg="del">
        <pc:chgData name="Erick Moore" userId="96a732b2-26bb-45da-b8ee-37851dfdb22e" providerId="ADAL" clId="{B61422AF-55D0-4095-B324-0CB95E577DDC}" dt="2021-12-06T13:47:24.366" v="158" actId="2696"/>
        <pc:sldMkLst>
          <pc:docMk/>
          <pc:sldMk cId="2111549449" sldId="2145705987"/>
        </pc:sldMkLst>
      </pc:sldChg>
      <pc:sldChg chg="mod modShow">
        <pc:chgData name="Erick Moore" userId="96a732b2-26bb-45da-b8ee-37851dfdb22e" providerId="ADAL" clId="{B61422AF-55D0-4095-B324-0CB95E577DDC}" dt="2021-12-06T15:12:08.024" v="168" actId="729"/>
        <pc:sldMkLst>
          <pc:docMk/>
          <pc:sldMk cId="2921261209" sldId="2147469828"/>
        </pc:sldMkLst>
      </pc:sldChg>
      <pc:sldChg chg="modTransition">
        <pc:chgData name="Erick Moore" userId="96a732b2-26bb-45da-b8ee-37851dfdb22e" providerId="ADAL" clId="{B61422AF-55D0-4095-B324-0CB95E577DDC}" dt="2021-12-06T13:45:47.830" v="156"/>
        <pc:sldMkLst>
          <pc:docMk/>
          <pc:sldMk cId="3071948652" sldId="2147469831"/>
        </pc:sldMkLst>
      </pc:sldChg>
    </pc:docChg>
  </pc:docChgLst>
  <pc:docChgLst>
    <pc:chgData name="Erick Moore" userId="S::ermoor@microsoft.com::96a732b2-26bb-45da-b8ee-37851dfdb22e" providerId="AD" clId="Web-{8B01E104-0C01-CD5A-F2D2-359E52169786}"/>
    <pc:docChg chg="">
      <pc:chgData name="Erick Moore" userId="S::ermoor@microsoft.com::96a732b2-26bb-45da-b8ee-37851dfdb22e" providerId="AD" clId="Web-{8B01E104-0C01-CD5A-F2D2-359E52169786}" dt="2021-09-14T13:41:10.870" v="0"/>
      <pc:docMkLst>
        <pc:docMk/>
      </pc:docMkLst>
      <pc:sldChg chg="modCm">
        <pc:chgData name="Erick Moore" userId="S::ermoor@microsoft.com::96a732b2-26bb-45da-b8ee-37851dfdb22e" providerId="AD" clId="Web-{8B01E104-0C01-CD5A-F2D2-359E52169786}" dt="2021-09-14T13:41:10.870" v="0"/>
        <pc:sldMkLst>
          <pc:docMk/>
          <pc:sldMk cId="3658315723" sldId="4354"/>
        </pc:sldMkLst>
      </pc:sldChg>
    </pc:docChg>
  </pc:docChgLst>
  <pc:docChgLst>
    <pc:chgData name="Cody Rowe" userId="6208a3e9-fa2e-4d97-85f1-45aab1d5458d" providerId="ADAL" clId="{0346F8CC-5D91-46DD-B956-AF936652C5F2}"/>
    <pc:docChg chg="undo custSel addSld delSld modSld">
      <pc:chgData name="Cody Rowe" userId="6208a3e9-fa2e-4d97-85f1-45aab1d5458d" providerId="ADAL" clId="{0346F8CC-5D91-46DD-B956-AF936652C5F2}" dt="2021-09-23T14:21:05.669" v="2478" actId="47"/>
      <pc:docMkLst>
        <pc:docMk/>
      </pc:docMkLst>
      <pc:sldChg chg="del">
        <pc:chgData name="Cody Rowe" userId="6208a3e9-fa2e-4d97-85f1-45aab1d5458d" providerId="ADAL" clId="{0346F8CC-5D91-46DD-B956-AF936652C5F2}" dt="2021-09-23T14:06:16.263" v="1984" actId="47"/>
        <pc:sldMkLst>
          <pc:docMk/>
          <pc:sldMk cId="624349999" sldId="860"/>
        </pc:sldMkLst>
      </pc:sldChg>
      <pc:sldChg chg="del">
        <pc:chgData name="Cody Rowe" userId="6208a3e9-fa2e-4d97-85f1-45aab1d5458d" providerId="ADAL" clId="{0346F8CC-5D91-46DD-B956-AF936652C5F2}" dt="2021-09-23T12:39:20.629" v="664" actId="47"/>
        <pc:sldMkLst>
          <pc:docMk/>
          <pc:sldMk cId="612280844" sldId="1890"/>
        </pc:sldMkLst>
      </pc:sldChg>
      <pc:sldChg chg="del">
        <pc:chgData name="Cody Rowe" userId="6208a3e9-fa2e-4d97-85f1-45aab1d5458d" providerId="ADAL" clId="{0346F8CC-5D91-46DD-B956-AF936652C5F2}" dt="2021-09-23T14:06:12.997" v="1971" actId="47"/>
        <pc:sldMkLst>
          <pc:docMk/>
          <pc:sldMk cId="3658315723" sldId="4354"/>
        </pc:sldMkLst>
      </pc:sldChg>
      <pc:sldChg chg="addSp delSp modSp mod modClrScheme delAnim chgLayout modNotesTx">
        <pc:chgData name="Cody Rowe" userId="6208a3e9-fa2e-4d97-85f1-45aab1d5458d" providerId="ADAL" clId="{0346F8CC-5D91-46DD-B956-AF936652C5F2}" dt="2021-09-23T12:37:28.079" v="662" actId="20577"/>
        <pc:sldMkLst>
          <pc:docMk/>
          <pc:sldMk cId="2957638688" sldId="2076136473"/>
        </pc:sldMkLst>
        <pc:spChg chg="add mod">
          <ac:chgData name="Cody Rowe" userId="6208a3e9-fa2e-4d97-85f1-45aab1d5458d" providerId="ADAL" clId="{0346F8CC-5D91-46DD-B956-AF936652C5F2}" dt="2021-09-23T12:36:16.367" v="562" actId="26606"/>
          <ac:spMkLst>
            <pc:docMk/>
            <pc:sldMk cId="2957638688" sldId="2076136473"/>
            <ac:spMk id="6" creationId="{C903219C-64BA-41C3-B8C8-80A269C8312E}"/>
          </ac:spMkLst>
        </pc:spChg>
        <pc:spChg chg="add del mod">
          <ac:chgData name="Cody Rowe" userId="6208a3e9-fa2e-4d97-85f1-45aab1d5458d" providerId="ADAL" clId="{0346F8CC-5D91-46DD-B956-AF936652C5F2}" dt="2021-09-22T19:50:56.562" v="346" actId="26606"/>
          <ac:spMkLst>
            <pc:docMk/>
            <pc:sldMk cId="2957638688" sldId="2076136473"/>
            <ac:spMk id="7" creationId="{ED38C369-9597-40B6-A202-74A048939B31}"/>
          </ac:spMkLst>
        </pc:spChg>
        <pc:spChg chg="add mod">
          <ac:chgData name="Cody Rowe" userId="6208a3e9-fa2e-4d97-85f1-45aab1d5458d" providerId="ADAL" clId="{0346F8CC-5D91-46DD-B956-AF936652C5F2}" dt="2021-09-23T12:37:28.079" v="662" actId="20577"/>
          <ac:spMkLst>
            <pc:docMk/>
            <pc:sldMk cId="2957638688" sldId="2076136473"/>
            <ac:spMk id="8" creationId="{B8F922CC-4D7D-43FB-9BB3-7C765CC58DAF}"/>
          </ac:spMkLst>
        </pc:spChg>
        <pc:spChg chg="add del mod">
          <ac:chgData name="Cody Rowe" userId="6208a3e9-fa2e-4d97-85f1-45aab1d5458d" providerId="ADAL" clId="{0346F8CC-5D91-46DD-B956-AF936652C5F2}" dt="2021-09-22T19:50:56.562" v="346" actId="26606"/>
          <ac:spMkLst>
            <pc:docMk/>
            <pc:sldMk cId="2957638688" sldId="2076136473"/>
            <ac:spMk id="9" creationId="{1DA07E46-EA7F-4667-A2AD-C5FCB7C50852}"/>
          </ac:spMkLst>
        </pc:spChg>
        <pc:spChg chg="add del mod">
          <ac:chgData name="Cody Rowe" userId="6208a3e9-fa2e-4d97-85f1-45aab1d5458d" providerId="ADAL" clId="{0346F8CC-5D91-46DD-B956-AF936652C5F2}" dt="2021-09-22T19:50:56.562" v="346" actId="26606"/>
          <ac:spMkLst>
            <pc:docMk/>
            <pc:sldMk cId="2957638688" sldId="2076136473"/>
            <ac:spMk id="11" creationId="{39C3ABD6-5D1D-469D-9744-247636A214B8}"/>
          </ac:spMkLst>
        </pc:spChg>
        <pc:spChg chg="del">
          <ac:chgData name="Cody Rowe" userId="6208a3e9-fa2e-4d97-85f1-45aab1d5458d" providerId="ADAL" clId="{0346F8CC-5D91-46DD-B956-AF936652C5F2}" dt="2021-09-22T19:50:35.220" v="344" actId="478"/>
          <ac:spMkLst>
            <pc:docMk/>
            <pc:sldMk cId="2957638688" sldId="2076136473"/>
            <ac:spMk id="243" creationId="{CE4E100D-6B15-44B6-8848-97E77D07BB1C}"/>
          </ac:spMkLst>
        </pc:spChg>
        <pc:spChg chg="del">
          <ac:chgData name="Cody Rowe" userId="6208a3e9-fa2e-4d97-85f1-45aab1d5458d" providerId="ADAL" clId="{0346F8CC-5D91-46DD-B956-AF936652C5F2}" dt="2021-09-22T19:50:35.220" v="344" actId="478"/>
          <ac:spMkLst>
            <pc:docMk/>
            <pc:sldMk cId="2957638688" sldId="2076136473"/>
            <ac:spMk id="449" creationId="{104C9FEA-8DF9-3F46-8E74-912079909131}"/>
          </ac:spMkLst>
        </pc:spChg>
        <pc:grpChg chg="del">
          <ac:chgData name="Cody Rowe" userId="6208a3e9-fa2e-4d97-85f1-45aab1d5458d" providerId="ADAL" clId="{0346F8CC-5D91-46DD-B956-AF936652C5F2}" dt="2021-09-22T19:50:35.220" v="344" actId="478"/>
          <ac:grpSpMkLst>
            <pc:docMk/>
            <pc:sldMk cId="2957638688" sldId="2076136473"/>
            <ac:grpSpMk id="3" creationId="{1B4C81C4-7497-4A70-B629-EE5DDB18A583}"/>
          </ac:grpSpMkLst>
        </pc:grpChg>
        <pc:grpChg chg="del">
          <ac:chgData name="Cody Rowe" userId="6208a3e9-fa2e-4d97-85f1-45aab1d5458d" providerId="ADAL" clId="{0346F8CC-5D91-46DD-B956-AF936652C5F2}" dt="2021-09-22T19:50:35.220" v="344" actId="478"/>
          <ac:grpSpMkLst>
            <pc:docMk/>
            <pc:sldMk cId="2957638688" sldId="2076136473"/>
            <ac:grpSpMk id="5" creationId="{8E5EAA53-9F17-4A4E-9D54-75B801498E18}"/>
          </ac:grpSpMkLst>
        </pc:grpChg>
        <pc:grpChg chg="del">
          <ac:chgData name="Cody Rowe" userId="6208a3e9-fa2e-4d97-85f1-45aab1d5458d" providerId="ADAL" clId="{0346F8CC-5D91-46DD-B956-AF936652C5F2}" dt="2021-09-22T19:50:35.220" v="344" actId="478"/>
          <ac:grpSpMkLst>
            <pc:docMk/>
            <pc:sldMk cId="2957638688" sldId="2076136473"/>
            <ac:grpSpMk id="191" creationId="{1CACE149-4844-9143-B428-19E2B5C0138B}"/>
          </ac:grpSpMkLst>
        </pc:grpChg>
        <pc:grpChg chg="del">
          <ac:chgData name="Cody Rowe" userId="6208a3e9-fa2e-4d97-85f1-45aab1d5458d" providerId="ADAL" clId="{0346F8CC-5D91-46DD-B956-AF936652C5F2}" dt="2021-09-22T19:50:35.220" v="344" actId="478"/>
          <ac:grpSpMkLst>
            <pc:docMk/>
            <pc:sldMk cId="2957638688" sldId="2076136473"/>
            <ac:grpSpMk id="196" creationId="{20BF5531-C292-4943-96B7-D0AD14A71872}"/>
          </ac:grpSpMkLst>
        </pc:grpChg>
        <pc:grpChg chg="del">
          <ac:chgData name="Cody Rowe" userId="6208a3e9-fa2e-4d97-85f1-45aab1d5458d" providerId="ADAL" clId="{0346F8CC-5D91-46DD-B956-AF936652C5F2}" dt="2021-09-22T19:50:35.220" v="344" actId="478"/>
          <ac:grpSpMkLst>
            <pc:docMk/>
            <pc:sldMk cId="2957638688" sldId="2076136473"/>
            <ac:grpSpMk id="201" creationId="{1E5AB57B-7238-A742-9D03-8D82D2AD8BBD}"/>
          </ac:grpSpMkLst>
        </pc:grpChg>
        <pc:grpChg chg="del">
          <ac:chgData name="Cody Rowe" userId="6208a3e9-fa2e-4d97-85f1-45aab1d5458d" providerId="ADAL" clId="{0346F8CC-5D91-46DD-B956-AF936652C5F2}" dt="2021-09-22T19:50:35.220" v="344" actId="478"/>
          <ac:grpSpMkLst>
            <pc:docMk/>
            <pc:sldMk cId="2957638688" sldId="2076136473"/>
            <ac:grpSpMk id="207" creationId="{125D691D-18D9-8B4B-8567-C392738F7A61}"/>
          </ac:grpSpMkLst>
        </pc:grpChg>
        <pc:grpChg chg="del">
          <ac:chgData name="Cody Rowe" userId="6208a3e9-fa2e-4d97-85f1-45aab1d5458d" providerId="ADAL" clId="{0346F8CC-5D91-46DD-B956-AF936652C5F2}" dt="2021-09-22T19:50:35.220" v="344" actId="478"/>
          <ac:grpSpMkLst>
            <pc:docMk/>
            <pc:sldMk cId="2957638688" sldId="2076136473"/>
            <ac:grpSpMk id="211" creationId="{35AA79D4-B971-46FD-B3BD-535030C695C5}"/>
          </ac:grpSpMkLst>
        </pc:grpChg>
        <pc:grpChg chg="del">
          <ac:chgData name="Cody Rowe" userId="6208a3e9-fa2e-4d97-85f1-45aab1d5458d" providerId="ADAL" clId="{0346F8CC-5D91-46DD-B956-AF936652C5F2}" dt="2021-09-22T19:50:35.220" v="344" actId="478"/>
          <ac:grpSpMkLst>
            <pc:docMk/>
            <pc:sldMk cId="2957638688" sldId="2076136473"/>
            <ac:grpSpMk id="247" creationId="{08DA7818-4E88-CC45-89B6-E89ABEC21388}"/>
          </ac:grpSpMkLst>
        </pc:grpChg>
        <pc:grpChg chg="del">
          <ac:chgData name="Cody Rowe" userId="6208a3e9-fa2e-4d97-85f1-45aab1d5458d" providerId="ADAL" clId="{0346F8CC-5D91-46DD-B956-AF936652C5F2}" dt="2021-09-22T19:50:35.220" v="344" actId="478"/>
          <ac:grpSpMkLst>
            <pc:docMk/>
            <pc:sldMk cId="2957638688" sldId="2076136473"/>
            <ac:grpSpMk id="255" creationId="{A4F0CE10-DB10-5543-B171-81EB37248189}"/>
          </ac:grpSpMkLst>
        </pc:grpChg>
        <pc:grpChg chg="del">
          <ac:chgData name="Cody Rowe" userId="6208a3e9-fa2e-4d97-85f1-45aab1d5458d" providerId="ADAL" clId="{0346F8CC-5D91-46DD-B956-AF936652C5F2}" dt="2021-09-22T19:50:35.220" v="344" actId="478"/>
          <ac:grpSpMkLst>
            <pc:docMk/>
            <pc:sldMk cId="2957638688" sldId="2076136473"/>
            <ac:grpSpMk id="258" creationId="{1B118C9F-39E9-6747-8C53-849B7E75C7B7}"/>
          </ac:grpSpMkLst>
        </pc:grpChg>
        <pc:grpChg chg="del">
          <ac:chgData name="Cody Rowe" userId="6208a3e9-fa2e-4d97-85f1-45aab1d5458d" providerId="ADAL" clId="{0346F8CC-5D91-46DD-B956-AF936652C5F2}" dt="2021-09-22T19:50:35.220" v="344" actId="478"/>
          <ac:grpSpMkLst>
            <pc:docMk/>
            <pc:sldMk cId="2957638688" sldId="2076136473"/>
            <ac:grpSpMk id="263" creationId="{F33415B9-C338-C34A-A822-4C0066F20D50}"/>
          </ac:grpSpMkLst>
        </pc:grpChg>
        <pc:grpChg chg="del">
          <ac:chgData name="Cody Rowe" userId="6208a3e9-fa2e-4d97-85f1-45aab1d5458d" providerId="ADAL" clId="{0346F8CC-5D91-46DD-B956-AF936652C5F2}" dt="2021-09-22T19:50:35.220" v="344" actId="478"/>
          <ac:grpSpMkLst>
            <pc:docMk/>
            <pc:sldMk cId="2957638688" sldId="2076136473"/>
            <ac:grpSpMk id="336" creationId="{A5248D22-53B4-4EC5-ACAD-6963D24C76C4}"/>
          </ac:grpSpMkLst>
        </pc:grpChg>
        <pc:grpChg chg="del">
          <ac:chgData name="Cody Rowe" userId="6208a3e9-fa2e-4d97-85f1-45aab1d5458d" providerId="ADAL" clId="{0346F8CC-5D91-46DD-B956-AF936652C5F2}" dt="2021-09-22T19:50:35.220" v="344" actId="478"/>
          <ac:grpSpMkLst>
            <pc:docMk/>
            <pc:sldMk cId="2957638688" sldId="2076136473"/>
            <ac:grpSpMk id="424" creationId="{1CA5A469-E5DC-174B-8120-3139095F6128}"/>
          </ac:grpSpMkLst>
        </pc:grpChg>
        <pc:grpChg chg="del">
          <ac:chgData name="Cody Rowe" userId="6208a3e9-fa2e-4d97-85f1-45aab1d5458d" providerId="ADAL" clId="{0346F8CC-5D91-46DD-B956-AF936652C5F2}" dt="2021-09-22T19:50:35.220" v="344" actId="478"/>
          <ac:grpSpMkLst>
            <pc:docMk/>
            <pc:sldMk cId="2957638688" sldId="2076136473"/>
            <ac:grpSpMk id="431" creationId="{D9A0754D-2085-BD46-AB93-14FBD6203C41}"/>
          </ac:grpSpMkLst>
        </pc:grpChg>
        <pc:grpChg chg="del">
          <ac:chgData name="Cody Rowe" userId="6208a3e9-fa2e-4d97-85f1-45aab1d5458d" providerId="ADAL" clId="{0346F8CC-5D91-46DD-B956-AF936652C5F2}" dt="2021-09-22T19:50:35.220" v="344" actId="478"/>
          <ac:grpSpMkLst>
            <pc:docMk/>
            <pc:sldMk cId="2957638688" sldId="2076136473"/>
            <ac:grpSpMk id="435" creationId="{44E19950-31D4-9F44-8CB5-AE92826A6403}"/>
          </ac:grpSpMkLst>
        </pc:grpChg>
        <pc:grpChg chg="del">
          <ac:chgData name="Cody Rowe" userId="6208a3e9-fa2e-4d97-85f1-45aab1d5458d" providerId="ADAL" clId="{0346F8CC-5D91-46DD-B956-AF936652C5F2}" dt="2021-09-22T19:50:35.220" v="344" actId="478"/>
          <ac:grpSpMkLst>
            <pc:docMk/>
            <pc:sldMk cId="2957638688" sldId="2076136473"/>
            <ac:grpSpMk id="443" creationId="{069A0D46-D777-1F49-9381-ECCAEE0A4570}"/>
          </ac:grpSpMkLst>
        </pc:grpChg>
        <pc:grpChg chg="del">
          <ac:chgData name="Cody Rowe" userId="6208a3e9-fa2e-4d97-85f1-45aab1d5458d" providerId="ADAL" clId="{0346F8CC-5D91-46DD-B956-AF936652C5F2}" dt="2021-09-22T19:50:35.220" v="344" actId="478"/>
          <ac:grpSpMkLst>
            <pc:docMk/>
            <pc:sldMk cId="2957638688" sldId="2076136473"/>
            <ac:grpSpMk id="450" creationId="{469F371B-C4C2-B741-BE11-28E14774953E}"/>
          </ac:grpSpMkLst>
        </pc:grpChg>
        <pc:picChg chg="add del">
          <ac:chgData name="Cody Rowe" userId="6208a3e9-fa2e-4d97-85f1-45aab1d5458d" providerId="ADAL" clId="{0346F8CC-5D91-46DD-B956-AF936652C5F2}" dt="2021-09-22T19:50:56.562" v="346" actId="26606"/>
          <ac:picMkLst>
            <pc:docMk/>
            <pc:sldMk cId="2957638688" sldId="2076136473"/>
            <ac:picMk id="4" creationId="{3DEF064C-5734-4AB5-AE0B-F6ED95A36C83}"/>
          </ac:picMkLst>
        </pc:picChg>
        <pc:picChg chg="add mod">
          <ac:chgData name="Cody Rowe" userId="6208a3e9-fa2e-4d97-85f1-45aab1d5458d" providerId="ADAL" clId="{0346F8CC-5D91-46DD-B956-AF936652C5F2}" dt="2021-09-23T12:36:16.367" v="562" actId="26606"/>
          <ac:picMkLst>
            <pc:docMk/>
            <pc:sldMk cId="2957638688" sldId="2076136473"/>
            <ac:picMk id="10" creationId="{3A644E8A-43E9-4F46-84EF-05FE6493957F}"/>
          </ac:picMkLst>
        </pc:picChg>
        <pc:picChg chg="del">
          <ac:chgData name="Cody Rowe" userId="6208a3e9-fa2e-4d97-85f1-45aab1d5458d" providerId="ADAL" clId="{0346F8CC-5D91-46DD-B956-AF936652C5F2}" dt="2021-09-22T19:50:35.220" v="344" actId="478"/>
          <ac:picMkLst>
            <pc:docMk/>
            <pc:sldMk cId="2957638688" sldId="2076136473"/>
            <ac:picMk id="206" creationId="{FD149382-87C6-43BE-BA16-8BB4865976AF}"/>
          </ac:picMkLst>
        </pc:picChg>
        <pc:picChg chg="del">
          <ac:chgData name="Cody Rowe" userId="6208a3e9-fa2e-4d97-85f1-45aab1d5458d" providerId="ADAL" clId="{0346F8CC-5D91-46DD-B956-AF936652C5F2}" dt="2021-09-22T19:50:35.220" v="344" actId="478"/>
          <ac:picMkLst>
            <pc:docMk/>
            <pc:sldMk cId="2957638688" sldId="2076136473"/>
            <ac:picMk id="246" creationId="{A87B067C-0696-6943-9A04-E172B270DFB4}"/>
          </ac:picMkLst>
        </pc:picChg>
        <pc:picChg chg="del">
          <ac:chgData name="Cody Rowe" userId="6208a3e9-fa2e-4d97-85f1-45aab1d5458d" providerId="ADAL" clId="{0346F8CC-5D91-46DD-B956-AF936652C5F2}" dt="2021-09-22T19:50:35.220" v="344" actId="478"/>
          <ac:picMkLst>
            <pc:docMk/>
            <pc:sldMk cId="2957638688" sldId="2076136473"/>
            <ac:picMk id="423" creationId="{243995E0-B5FC-B746-B54B-6AE18817A4D5}"/>
          </ac:picMkLst>
        </pc:picChg>
        <pc:picChg chg="del">
          <ac:chgData name="Cody Rowe" userId="6208a3e9-fa2e-4d97-85f1-45aab1d5458d" providerId="ADAL" clId="{0346F8CC-5D91-46DD-B956-AF936652C5F2}" dt="2021-09-22T19:50:35.220" v="344" actId="478"/>
          <ac:picMkLst>
            <pc:docMk/>
            <pc:sldMk cId="2957638688" sldId="2076136473"/>
            <ac:picMk id="434" creationId="{3331E718-5954-3E41-86D9-FD2D4ED911A8}"/>
          </ac:picMkLst>
        </pc:picChg>
        <pc:picChg chg="del">
          <ac:chgData name="Cody Rowe" userId="6208a3e9-fa2e-4d97-85f1-45aab1d5458d" providerId="ADAL" clId="{0346F8CC-5D91-46DD-B956-AF936652C5F2}" dt="2021-09-22T19:50:35.220" v="344" actId="478"/>
          <ac:picMkLst>
            <pc:docMk/>
            <pc:sldMk cId="2957638688" sldId="2076136473"/>
            <ac:picMk id="448" creationId="{12446A1F-651A-2443-AA92-0868001262A9}"/>
          </ac:picMkLst>
        </pc:picChg>
        <pc:picChg chg="del">
          <ac:chgData name="Cody Rowe" userId="6208a3e9-fa2e-4d97-85f1-45aab1d5458d" providerId="ADAL" clId="{0346F8CC-5D91-46DD-B956-AF936652C5F2}" dt="2021-09-22T19:50:35.220" v="344" actId="478"/>
          <ac:picMkLst>
            <pc:docMk/>
            <pc:sldMk cId="2957638688" sldId="2076136473"/>
            <ac:picMk id="460" creationId="{B3016137-B4E4-6143-85E7-6A271163BC8F}"/>
          </ac:picMkLst>
        </pc:picChg>
        <pc:picChg chg="del">
          <ac:chgData name="Cody Rowe" userId="6208a3e9-fa2e-4d97-85f1-45aab1d5458d" providerId="ADAL" clId="{0346F8CC-5D91-46DD-B956-AF936652C5F2}" dt="2021-09-22T19:50:35.220" v="344" actId="478"/>
          <ac:picMkLst>
            <pc:docMk/>
            <pc:sldMk cId="2957638688" sldId="2076136473"/>
            <ac:picMk id="461" creationId="{D6D0F93D-F37D-FF40-90DF-86F96A24BAC8}"/>
          </ac:picMkLst>
        </pc:picChg>
        <pc:picChg chg="del">
          <ac:chgData name="Cody Rowe" userId="6208a3e9-fa2e-4d97-85f1-45aab1d5458d" providerId="ADAL" clId="{0346F8CC-5D91-46DD-B956-AF936652C5F2}" dt="2021-09-22T19:50:35.220" v="344" actId="478"/>
          <ac:picMkLst>
            <pc:docMk/>
            <pc:sldMk cId="2957638688" sldId="2076136473"/>
            <ac:picMk id="462" creationId="{7F486E28-8083-E643-814F-8C5D573ADCE5}"/>
          </ac:picMkLst>
        </pc:picChg>
        <pc:picChg chg="del">
          <ac:chgData name="Cody Rowe" userId="6208a3e9-fa2e-4d97-85f1-45aab1d5458d" providerId="ADAL" clId="{0346F8CC-5D91-46DD-B956-AF936652C5F2}" dt="2021-09-22T19:50:35.220" v="344" actId="478"/>
          <ac:picMkLst>
            <pc:docMk/>
            <pc:sldMk cId="2957638688" sldId="2076136473"/>
            <ac:picMk id="463" creationId="{59E55AF7-044E-0747-B847-5E4A9933E684}"/>
          </ac:picMkLst>
        </pc:picChg>
        <pc:picChg chg="del">
          <ac:chgData name="Cody Rowe" userId="6208a3e9-fa2e-4d97-85f1-45aab1d5458d" providerId="ADAL" clId="{0346F8CC-5D91-46DD-B956-AF936652C5F2}" dt="2021-09-22T19:50:35.220" v="344" actId="478"/>
          <ac:picMkLst>
            <pc:docMk/>
            <pc:sldMk cId="2957638688" sldId="2076136473"/>
            <ac:picMk id="464" creationId="{D397E675-B782-8B4D-8405-4B7BBC96CF0B}"/>
          </ac:picMkLst>
        </pc:picChg>
        <pc:picChg chg="del">
          <ac:chgData name="Cody Rowe" userId="6208a3e9-fa2e-4d97-85f1-45aab1d5458d" providerId="ADAL" clId="{0346F8CC-5D91-46DD-B956-AF936652C5F2}" dt="2021-09-22T19:50:35.220" v="344" actId="478"/>
          <ac:picMkLst>
            <pc:docMk/>
            <pc:sldMk cId="2957638688" sldId="2076136473"/>
            <ac:picMk id="465" creationId="{21F20F08-E1CA-C74F-9032-CDA942894582}"/>
          </ac:picMkLst>
        </pc:picChg>
        <pc:picChg chg="del">
          <ac:chgData name="Cody Rowe" userId="6208a3e9-fa2e-4d97-85f1-45aab1d5458d" providerId="ADAL" clId="{0346F8CC-5D91-46DD-B956-AF936652C5F2}" dt="2021-09-22T19:50:35.220" v="344" actId="478"/>
          <ac:picMkLst>
            <pc:docMk/>
            <pc:sldMk cId="2957638688" sldId="2076136473"/>
            <ac:picMk id="466" creationId="{6D48190D-4404-7544-869C-15976E82CC0E}"/>
          </ac:picMkLst>
        </pc:picChg>
        <pc:picChg chg="del">
          <ac:chgData name="Cody Rowe" userId="6208a3e9-fa2e-4d97-85f1-45aab1d5458d" providerId="ADAL" clId="{0346F8CC-5D91-46DD-B956-AF936652C5F2}" dt="2021-09-22T19:50:35.220" v="344" actId="478"/>
          <ac:picMkLst>
            <pc:docMk/>
            <pc:sldMk cId="2957638688" sldId="2076136473"/>
            <ac:picMk id="467" creationId="{18AF1315-74E6-CB4C-83FA-C1A8E0CB90A4}"/>
          </ac:picMkLst>
        </pc:picChg>
        <pc:picChg chg="del">
          <ac:chgData name="Cody Rowe" userId="6208a3e9-fa2e-4d97-85f1-45aab1d5458d" providerId="ADAL" clId="{0346F8CC-5D91-46DD-B956-AF936652C5F2}" dt="2021-09-22T19:50:35.220" v="344" actId="478"/>
          <ac:picMkLst>
            <pc:docMk/>
            <pc:sldMk cId="2957638688" sldId="2076136473"/>
            <ac:picMk id="468" creationId="{1EED587D-F153-3942-9ECE-71DEEFD4B2B3}"/>
          </ac:picMkLst>
        </pc:picChg>
        <pc:picChg chg="del">
          <ac:chgData name="Cody Rowe" userId="6208a3e9-fa2e-4d97-85f1-45aab1d5458d" providerId="ADAL" clId="{0346F8CC-5D91-46DD-B956-AF936652C5F2}" dt="2021-09-22T19:50:35.220" v="344" actId="478"/>
          <ac:picMkLst>
            <pc:docMk/>
            <pc:sldMk cId="2957638688" sldId="2076136473"/>
            <ac:picMk id="470" creationId="{12889A74-7052-134F-98B5-9C140885119D}"/>
          </ac:picMkLst>
        </pc:picChg>
        <pc:cxnChg chg="mod">
          <ac:chgData name="Cody Rowe" userId="6208a3e9-fa2e-4d97-85f1-45aab1d5458d" providerId="ADAL" clId="{0346F8CC-5D91-46DD-B956-AF936652C5F2}" dt="2021-09-22T19:50:35.220" v="344" actId="478"/>
          <ac:cxnSpMkLst>
            <pc:docMk/>
            <pc:sldMk cId="2957638688" sldId="2076136473"/>
            <ac:cxnSpMk id="212" creationId="{C7786B4F-854F-4776-AEBD-A1261B460D60}"/>
          </ac:cxnSpMkLst>
        </pc:cxnChg>
        <pc:cxnChg chg="mod">
          <ac:chgData name="Cody Rowe" userId="6208a3e9-fa2e-4d97-85f1-45aab1d5458d" providerId="ADAL" clId="{0346F8CC-5D91-46DD-B956-AF936652C5F2}" dt="2021-09-22T19:50:35.220" v="344" actId="478"/>
          <ac:cxnSpMkLst>
            <pc:docMk/>
            <pc:sldMk cId="2957638688" sldId="2076136473"/>
            <ac:cxnSpMk id="213" creationId="{0FD3408F-79B5-4E68-95E4-6811ABA5C8EF}"/>
          </ac:cxnSpMkLst>
        </pc:cxnChg>
        <pc:cxnChg chg="mod">
          <ac:chgData name="Cody Rowe" userId="6208a3e9-fa2e-4d97-85f1-45aab1d5458d" providerId="ADAL" clId="{0346F8CC-5D91-46DD-B956-AF936652C5F2}" dt="2021-09-22T19:50:35.220" v="344" actId="478"/>
          <ac:cxnSpMkLst>
            <pc:docMk/>
            <pc:sldMk cId="2957638688" sldId="2076136473"/>
            <ac:cxnSpMk id="214" creationId="{74B81510-6A4E-4C9D-8977-9AF8477EC834}"/>
          </ac:cxnSpMkLst>
        </pc:cxnChg>
        <pc:cxnChg chg="mod">
          <ac:chgData name="Cody Rowe" userId="6208a3e9-fa2e-4d97-85f1-45aab1d5458d" providerId="ADAL" clId="{0346F8CC-5D91-46DD-B956-AF936652C5F2}" dt="2021-09-22T19:50:35.220" v="344" actId="478"/>
          <ac:cxnSpMkLst>
            <pc:docMk/>
            <pc:sldMk cId="2957638688" sldId="2076136473"/>
            <ac:cxnSpMk id="215" creationId="{0021B799-92A3-456C-82AC-A83D18484CEA}"/>
          </ac:cxnSpMkLst>
        </pc:cxnChg>
        <pc:cxnChg chg="mod">
          <ac:chgData name="Cody Rowe" userId="6208a3e9-fa2e-4d97-85f1-45aab1d5458d" providerId="ADAL" clId="{0346F8CC-5D91-46DD-B956-AF936652C5F2}" dt="2021-09-22T19:50:35.220" v="344" actId="478"/>
          <ac:cxnSpMkLst>
            <pc:docMk/>
            <pc:sldMk cId="2957638688" sldId="2076136473"/>
            <ac:cxnSpMk id="216" creationId="{7C6AF80D-2F07-4A31-A23D-73AB3618DBDF}"/>
          </ac:cxnSpMkLst>
        </pc:cxnChg>
        <pc:cxnChg chg="mod">
          <ac:chgData name="Cody Rowe" userId="6208a3e9-fa2e-4d97-85f1-45aab1d5458d" providerId="ADAL" clId="{0346F8CC-5D91-46DD-B956-AF936652C5F2}" dt="2021-09-22T19:50:35.220" v="344" actId="478"/>
          <ac:cxnSpMkLst>
            <pc:docMk/>
            <pc:sldMk cId="2957638688" sldId="2076136473"/>
            <ac:cxnSpMk id="217" creationId="{84716617-6883-4BB3-A483-3EDB1D195BB5}"/>
          </ac:cxnSpMkLst>
        </pc:cxnChg>
        <pc:cxnChg chg="mod">
          <ac:chgData name="Cody Rowe" userId="6208a3e9-fa2e-4d97-85f1-45aab1d5458d" providerId="ADAL" clId="{0346F8CC-5D91-46DD-B956-AF936652C5F2}" dt="2021-09-22T19:50:35.220" v="344" actId="478"/>
          <ac:cxnSpMkLst>
            <pc:docMk/>
            <pc:sldMk cId="2957638688" sldId="2076136473"/>
            <ac:cxnSpMk id="218" creationId="{92B28F34-DE55-41AD-B93F-28935A83BD42}"/>
          </ac:cxnSpMkLst>
        </pc:cxnChg>
        <pc:cxnChg chg="mod">
          <ac:chgData name="Cody Rowe" userId="6208a3e9-fa2e-4d97-85f1-45aab1d5458d" providerId="ADAL" clId="{0346F8CC-5D91-46DD-B956-AF936652C5F2}" dt="2021-09-22T19:50:35.220" v="344" actId="478"/>
          <ac:cxnSpMkLst>
            <pc:docMk/>
            <pc:sldMk cId="2957638688" sldId="2076136473"/>
            <ac:cxnSpMk id="219" creationId="{004BA438-CB2B-44DF-B0F7-07C4EA3A73AE}"/>
          </ac:cxnSpMkLst>
        </pc:cxnChg>
        <pc:cxnChg chg="mod">
          <ac:chgData name="Cody Rowe" userId="6208a3e9-fa2e-4d97-85f1-45aab1d5458d" providerId="ADAL" clId="{0346F8CC-5D91-46DD-B956-AF936652C5F2}" dt="2021-09-22T19:50:35.220" v="344" actId="478"/>
          <ac:cxnSpMkLst>
            <pc:docMk/>
            <pc:sldMk cId="2957638688" sldId="2076136473"/>
            <ac:cxnSpMk id="220" creationId="{81D1BD7F-E7D6-4AA3-8ED7-BA0E992302A5}"/>
          </ac:cxnSpMkLst>
        </pc:cxnChg>
        <pc:cxnChg chg="mod">
          <ac:chgData name="Cody Rowe" userId="6208a3e9-fa2e-4d97-85f1-45aab1d5458d" providerId="ADAL" clId="{0346F8CC-5D91-46DD-B956-AF936652C5F2}" dt="2021-09-22T19:50:35.220" v="344" actId="478"/>
          <ac:cxnSpMkLst>
            <pc:docMk/>
            <pc:sldMk cId="2957638688" sldId="2076136473"/>
            <ac:cxnSpMk id="221" creationId="{73E4BBE8-9BC5-4E04-BA54-27AF5A477E30}"/>
          </ac:cxnSpMkLst>
        </pc:cxnChg>
        <pc:cxnChg chg="mod">
          <ac:chgData name="Cody Rowe" userId="6208a3e9-fa2e-4d97-85f1-45aab1d5458d" providerId="ADAL" clId="{0346F8CC-5D91-46DD-B956-AF936652C5F2}" dt="2021-09-22T19:50:35.220" v="344" actId="478"/>
          <ac:cxnSpMkLst>
            <pc:docMk/>
            <pc:sldMk cId="2957638688" sldId="2076136473"/>
            <ac:cxnSpMk id="222" creationId="{D5763F71-986A-4760-AAB0-B94FD91229DE}"/>
          </ac:cxnSpMkLst>
        </pc:cxnChg>
        <pc:cxnChg chg="mod">
          <ac:chgData name="Cody Rowe" userId="6208a3e9-fa2e-4d97-85f1-45aab1d5458d" providerId="ADAL" clId="{0346F8CC-5D91-46DD-B956-AF936652C5F2}" dt="2021-09-22T19:50:35.220" v="344" actId="478"/>
          <ac:cxnSpMkLst>
            <pc:docMk/>
            <pc:sldMk cId="2957638688" sldId="2076136473"/>
            <ac:cxnSpMk id="223" creationId="{5AD75CAB-B1B6-495E-BEA4-DCACBA193471}"/>
          </ac:cxnSpMkLst>
        </pc:cxnChg>
        <pc:cxnChg chg="mod">
          <ac:chgData name="Cody Rowe" userId="6208a3e9-fa2e-4d97-85f1-45aab1d5458d" providerId="ADAL" clId="{0346F8CC-5D91-46DD-B956-AF936652C5F2}" dt="2021-09-22T19:50:35.220" v="344" actId="478"/>
          <ac:cxnSpMkLst>
            <pc:docMk/>
            <pc:sldMk cId="2957638688" sldId="2076136473"/>
            <ac:cxnSpMk id="224" creationId="{C305734E-C69A-43B0-B0EC-A4E268D63131}"/>
          </ac:cxnSpMkLst>
        </pc:cxnChg>
        <pc:cxnChg chg="mod">
          <ac:chgData name="Cody Rowe" userId="6208a3e9-fa2e-4d97-85f1-45aab1d5458d" providerId="ADAL" clId="{0346F8CC-5D91-46DD-B956-AF936652C5F2}" dt="2021-09-22T19:50:35.220" v="344" actId="478"/>
          <ac:cxnSpMkLst>
            <pc:docMk/>
            <pc:sldMk cId="2957638688" sldId="2076136473"/>
            <ac:cxnSpMk id="225" creationId="{E416775A-69BC-4AD4-B958-B4FE6C3A0090}"/>
          </ac:cxnSpMkLst>
        </pc:cxnChg>
        <pc:cxnChg chg="mod">
          <ac:chgData name="Cody Rowe" userId="6208a3e9-fa2e-4d97-85f1-45aab1d5458d" providerId="ADAL" clId="{0346F8CC-5D91-46DD-B956-AF936652C5F2}" dt="2021-09-22T19:50:35.220" v="344" actId="478"/>
          <ac:cxnSpMkLst>
            <pc:docMk/>
            <pc:sldMk cId="2957638688" sldId="2076136473"/>
            <ac:cxnSpMk id="226" creationId="{B08AF377-ED05-4FE8-873B-3C5860BD1E74}"/>
          </ac:cxnSpMkLst>
        </pc:cxnChg>
        <pc:cxnChg chg="mod">
          <ac:chgData name="Cody Rowe" userId="6208a3e9-fa2e-4d97-85f1-45aab1d5458d" providerId="ADAL" clId="{0346F8CC-5D91-46DD-B956-AF936652C5F2}" dt="2021-09-22T19:50:35.220" v="344" actId="478"/>
          <ac:cxnSpMkLst>
            <pc:docMk/>
            <pc:sldMk cId="2957638688" sldId="2076136473"/>
            <ac:cxnSpMk id="227" creationId="{EF48D7E8-423B-4DA0-8C3B-65A783FFA9F7}"/>
          </ac:cxnSpMkLst>
        </pc:cxnChg>
        <pc:cxnChg chg="mod">
          <ac:chgData name="Cody Rowe" userId="6208a3e9-fa2e-4d97-85f1-45aab1d5458d" providerId="ADAL" clId="{0346F8CC-5D91-46DD-B956-AF936652C5F2}" dt="2021-09-22T19:50:35.220" v="344" actId="478"/>
          <ac:cxnSpMkLst>
            <pc:docMk/>
            <pc:sldMk cId="2957638688" sldId="2076136473"/>
            <ac:cxnSpMk id="228" creationId="{77E7DA71-09C8-4DFD-9534-42D9422A9DB9}"/>
          </ac:cxnSpMkLst>
        </pc:cxnChg>
        <pc:cxnChg chg="mod">
          <ac:chgData name="Cody Rowe" userId="6208a3e9-fa2e-4d97-85f1-45aab1d5458d" providerId="ADAL" clId="{0346F8CC-5D91-46DD-B956-AF936652C5F2}" dt="2021-09-22T19:50:35.220" v="344" actId="478"/>
          <ac:cxnSpMkLst>
            <pc:docMk/>
            <pc:sldMk cId="2957638688" sldId="2076136473"/>
            <ac:cxnSpMk id="229" creationId="{34E97E84-2D41-4AF3-8581-25737ECA5417}"/>
          </ac:cxnSpMkLst>
        </pc:cxnChg>
        <pc:cxnChg chg="mod">
          <ac:chgData name="Cody Rowe" userId="6208a3e9-fa2e-4d97-85f1-45aab1d5458d" providerId="ADAL" clId="{0346F8CC-5D91-46DD-B956-AF936652C5F2}" dt="2021-09-22T19:50:35.220" v="344" actId="478"/>
          <ac:cxnSpMkLst>
            <pc:docMk/>
            <pc:sldMk cId="2957638688" sldId="2076136473"/>
            <ac:cxnSpMk id="230" creationId="{9C136F6D-DE1A-4387-86C3-3C0CAE88C18D}"/>
          </ac:cxnSpMkLst>
        </pc:cxnChg>
        <pc:cxnChg chg="mod">
          <ac:chgData name="Cody Rowe" userId="6208a3e9-fa2e-4d97-85f1-45aab1d5458d" providerId="ADAL" clId="{0346F8CC-5D91-46DD-B956-AF936652C5F2}" dt="2021-09-22T19:50:35.220" v="344" actId="478"/>
          <ac:cxnSpMkLst>
            <pc:docMk/>
            <pc:sldMk cId="2957638688" sldId="2076136473"/>
            <ac:cxnSpMk id="231" creationId="{0355A8DA-715D-48CA-B21C-26C42AFBC7CC}"/>
          </ac:cxnSpMkLst>
        </pc:cxnChg>
        <pc:cxnChg chg="mod">
          <ac:chgData name="Cody Rowe" userId="6208a3e9-fa2e-4d97-85f1-45aab1d5458d" providerId="ADAL" clId="{0346F8CC-5D91-46DD-B956-AF936652C5F2}" dt="2021-09-22T19:50:35.220" v="344" actId="478"/>
          <ac:cxnSpMkLst>
            <pc:docMk/>
            <pc:sldMk cId="2957638688" sldId="2076136473"/>
            <ac:cxnSpMk id="232" creationId="{874039F7-E635-4603-AB92-0103F236AA99}"/>
          </ac:cxnSpMkLst>
        </pc:cxnChg>
        <pc:cxnChg chg="mod">
          <ac:chgData name="Cody Rowe" userId="6208a3e9-fa2e-4d97-85f1-45aab1d5458d" providerId="ADAL" clId="{0346F8CC-5D91-46DD-B956-AF936652C5F2}" dt="2021-09-22T19:50:35.220" v="344" actId="478"/>
          <ac:cxnSpMkLst>
            <pc:docMk/>
            <pc:sldMk cId="2957638688" sldId="2076136473"/>
            <ac:cxnSpMk id="233" creationId="{7B4C664A-08AA-4991-8FAB-5B7EBB0FCD4F}"/>
          </ac:cxnSpMkLst>
        </pc:cxnChg>
        <pc:cxnChg chg="mod">
          <ac:chgData name="Cody Rowe" userId="6208a3e9-fa2e-4d97-85f1-45aab1d5458d" providerId="ADAL" clId="{0346F8CC-5D91-46DD-B956-AF936652C5F2}" dt="2021-09-22T19:50:35.220" v="344" actId="478"/>
          <ac:cxnSpMkLst>
            <pc:docMk/>
            <pc:sldMk cId="2957638688" sldId="2076136473"/>
            <ac:cxnSpMk id="234" creationId="{18303D69-3660-45D4-B82F-148AA3524A5F}"/>
          </ac:cxnSpMkLst>
        </pc:cxnChg>
        <pc:cxnChg chg="mod">
          <ac:chgData name="Cody Rowe" userId="6208a3e9-fa2e-4d97-85f1-45aab1d5458d" providerId="ADAL" clId="{0346F8CC-5D91-46DD-B956-AF936652C5F2}" dt="2021-09-22T19:50:35.220" v="344" actId="478"/>
          <ac:cxnSpMkLst>
            <pc:docMk/>
            <pc:sldMk cId="2957638688" sldId="2076136473"/>
            <ac:cxnSpMk id="235" creationId="{80334EAF-86EC-4431-AC3D-CC2DFBE78D4D}"/>
          </ac:cxnSpMkLst>
        </pc:cxnChg>
        <pc:cxnChg chg="mod">
          <ac:chgData name="Cody Rowe" userId="6208a3e9-fa2e-4d97-85f1-45aab1d5458d" providerId="ADAL" clId="{0346F8CC-5D91-46DD-B956-AF936652C5F2}" dt="2021-09-22T19:50:35.220" v="344" actId="478"/>
          <ac:cxnSpMkLst>
            <pc:docMk/>
            <pc:sldMk cId="2957638688" sldId="2076136473"/>
            <ac:cxnSpMk id="237" creationId="{4115EEA6-7C67-43C2-9F25-B0DD24D0ECA7}"/>
          </ac:cxnSpMkLst>
        </pc:cxnChg>
        <pc:cxnChg chg="mod">
          <ac:chgData name="Cody Rowe" userId="6208a3e9-fa2e-4d97-85f1-45aab1d5458d" providerId="ADAL" clId="{0346F8CC-5D91-46DD-B956-AF936652C5F2}" dt="2021-09-22T19:50:35.220" v="344" actId="478"/>
          <ac:cxnSpMkLst>
            <pc:docMk/>
            <pc:sldMk cId="2957638688" sldId="2076136473"/>
            <ac:cxnSpMk id="238" creationId="{19BB86EB-5C5D-46BE-B086-3A5835EDFB43}"/>
          </ac:cxnSpMkLst>
        </pc:cxnChg>
        <pc:cxnChg chg="mod">
          <ac:chgData name="Cody Rowe" userId="6208a3e9-fa2e-4d97-85f1-45aab1d5458d" providerId="ADAL" clId="{0346F8CC-5D91-46DD-B956-AF936652C5F2}" dt="2021-09-22T19:50:35.220" v="344" actId="478"/>
          <ac:cxnSpMkLst>
            <pc:docMk/>
            <pc:sldMk cId="2957638688" sldId="2076136473"/>
            <ac:cxnSpMk id="239" creationId="{3C4C5922-2365-45EE-B6ED-EB5967D87AF8}"/>
          </ac:cxnSpMkLst>
        </pc:cxnChg>
        <pc:cxnChg chg="mod">
          <ac:chgData name="Cody Rowe" userId="6208a3e9-fa2e-4d97-85f1-45aab1d5458d" providerId="ADAL" clId="{0346F8CC-5D91-46DD-B956-AF936652C5F2}" dt="2021-09-22T19:50:35.220" v="344" actId="478"/>
          <ac:cxnSpMkLst>
            <pc:docMk/>
            <pc:sldMk cId="2957638688" sldId="2076136473"/>
            <ac:cxnSpMk id="240" creationId="{00E9036D-63EB-4FB2-8EF3-E901556CC5AB}"/>
          </ac:cxnSpMkLst>
        </pc:cxnChg>
        <pc:cxnChg chg="mod">
          <ac:chgData name="Cody Rowe" userId="6208a3e9-fa2e-4d97-85f1-45aab1d5458d" providerId="ADAL" clId="{0346F8CC-5D91-46DD-B956-AF936652C5F2}" dt="2021-09-22T19:50:35.220" v="344" actId="478"/>
          <ac:cxnSpMkLst>
            <pc:docMk/>
            <pc:sldMk cId="2957638688" sldId="2076136473"/>
            <ac:cxnSpMk id="241" creationId="{0D73D453-52CA-47FD-B0E9-608A6D4D3141}"/>
          </ac:cxnSpMkLst>
        </pc:cxnChg>
        <pc:cxnChg chg="mod">
          <ac:chgData name="Cody Rowe" userId="6208a3e9-fa2e-4d97-85f1-45aab1d5458d" providerId="ADAL" clId="{0346F8CC-5D91-46DD-B956-AF936652C5F2}" dt="2021-09-22T19:50:35.220" v="344" actId="478"/>
          <ac:cxnSpMkLst>
            <pc:docMk/>
            <pc:sldMk cId="2957638688" sldId="2076136473"/>
            <ac:cxnSpMk id="242" creationId="{48E44318-A665-48B3-99BD-D82E88C35147}"/>
          </ac:cxnSpMkLst>
        </pc:cxnChg>
      </pc:sldChg>
      <pc:sldChg chg="del">
        <pc:chgData name="Cody Rowe" userId="6208a3e9-fa2e-4d97-85f1-45aab1d5458d" providerId="ADAL" clId="{0346F8CC-5D91-46DD-B956-AF936652C5F2}" dt="2021-09-23T12:39:23.156" v="665" actId="47"/>
        <pc:sldMkLst>
          <pc:docMk/>
          <pc:sldMk cId="2868977084" sldId="2076137221"/>
        </pc:sldMkLst>
      </pc:sldChg>
      <pc:sldChg chg="del">
        <pc:chgData name="Cody Rowe" userId="6208a3e9-fa2e-4d97-85f1-45aab1d5458d" providerId="ADAL" clId="{0346F8CC-5D91-46DD-B956-AF936652C5F2}" dt="2021-09-23T14:20:54.235" v="2477" actId="47"/>
        <pc:sldMkLst>
          <pc:docMk/>
          <pc:sldMk cId="2663504162" sldId="2134804996"/>
        </pc:sldMkLst>
      </pc:sldChg>
      <pc:sldChg chg="modSp mod">
        <pc:chgData name="Cody Rowe" userId="6208a3e9-fa2e-4d97-85f1-45aab1d5458d" providerId="ADAL" clId="{0346F8CC-5D91-46DD-B956-AF936652C5F2}" dt="2021-09-21T14:12:56.875" v="45" actId="20577"/>
        <pc:sldMkLst>
          <pc:docMk/>
          <pc:sldMk cId="3453069231" sldId="2134804999"/>
        </pc:sldMkLst>
        <pc:spChg chg="mod">
          <ac:chgData name="Cody Rowe" userId="6208a3e9-fa2e-4d97-85f1-45aab1d5458d" providerId="ADAL" clId="{0346F8CC-5D91-46DD-B956-AF936652C5F2}" dt="2021-09-21T14:12:56.875" v="45" actId="20577"/>
          <ac:spMkLst>
            <pc:docMk/>
            <pc:sldMk cId="3453069231" sldId="2134804999"/>
            <ac:spMk id="4" creationId="{00000000-0000-0000-0000-000000000000}"/>
          </ac:spMkLst>
        </pc:spChg>
      </pc:sldChg>
      <pc:sldChg chg="add del">
        <pc:chgData name="Cody Rowe" userId="6208a3e9-fa2e-4d97-85f1-45aab1d5458d" providerId="ADAL" clId="{0346F8CC-5D91-46DD-B956-AF936652C5F2}" dt="2021-09-23T14:06:21.571" v="1995" actId="47"/>
        <pc:sldMkLst>
          <pc:docMk/>
          <pc:sldMk cId="4189880712" sldId="2145705908"/>
        </pc:sldMkLst>
      </pc:sldChg>
      <pc:sldChg chg="delSp modSp mod modNotesTx">
        <pc:chgData name="Cody Rowe" userId="6208a3e9-fa2e-4d97-85f1-45aab1d5458d" providerId="ADAL" clId="{0346F8CC-5D91-46DD-B956-AF936652C5F2}" dt="2021-09-23T14:18:33.012" v="2436" actId="20577"/>
        <pc:sldMkLst>
          <pc:docMk/>
          <pc:sldMk cId="3675353970" sldId="2145705915"/>
        </pc:sldMkLst>
        <pc:spChg chg="mod">
          <ac:chgData name="Cody Rowe" userId="6208a3e9-fa2e-4d97-85f1-45aab1d5458d" providerId="ADAL" clId="{0346F8CC-5D91-46DD-B956-AF936652C5F2}" dt="2021-09-22T19:47:20.507" v="327" actId="1076"/>
          <ac:spMkLst>
            <pc:docMk/>
            <pc:sldMk cId="3675353970" sldId="2145705915"/>
            <ac:spMk id="42" creationId="{1D67ACEB-DBC4-4D01-9DF9-D5BDAF5B1629}"/>
          </ac:spMkLst>
        </pc:spChg>
        <pc:grpChg chg="del">
          <ac:chgData name="Cody Rowe" userId="6208a3e9-fa2e-4d97-85f1-45aab1d5458d" providerId="ADAL" clId="{0346F8CC-5D91-46DD-B956-AF936652C5F2}" dt="2021-09-22T19:01:23.298" v="46" actId="478"/>
          <ac:grpSpMkLst>
            <pc:docMk/>
            <pc:sldMk cId="3675353970" sldId="2145705915"/>
            <ac:grpSpMk id="37" creationId="{89524F77-0D4F-4A9F-9CB5-4C146B0A829A}"/>
          </ac:grpSpMkLst>
        </pc:grpChg>
      </pc:sldChg>
      <pc:sldChg chg="del">
        <pc:chgData name="Cody Rowe" userId="6208a3e9-fa2e-4d97-85f1-45aab1d5458d" providerId="ADAL" clId="{0346F8CC-5D91-46DD-B956-AF936652C5F2}" dt="2021-09-23T14:21:05.669" v="2478" actId="47"/>
        <pc:sldMkLst>
          <pc:docMk/>
          <pc:sldMk cId="2243280449" sldId="2145705916"/>
        </pc:sldMkLst>
      </pc:sldChg>
      <pc:sldChg chg="del">
        <pc:chgData name="Cody Rowe" userId="6208a3e9-fa2e-4d97-85f1-45aab1d5458d" providerId="ADAL" clId="{0346F8CC-5D91-46DD-B956-AF936652C5F2}" dt="2021-09-23T13:50:09.487" v="1829" actId="47"/>
        <pc:sldMkLst>
          <pc:docMk/>
          <pc:sldMk cId="3079443981" sldId="2145705928"/>
        </pc:sldMkLst>
      </pc:sldChg>
      <pc:sldChg chg="del">
        <pc:chgData name="Cody Rowe" userId="6208a3e9-fa2e-4d97-85f1-45aab1d5458d" providerId="ADAL" clId="{0346F8CC-5D91-46DD-B956-AF936652C5F2}" dt="2021-09-23T13:50:08.745" v="1828" actId="47"/>
        <pc:sldMkLst>
          <pc:docMk/>
          <pc:sldMk cId="48680643" sldId="2145705929"/>
        </pc:sldMkLst>
      </pc:sldChg>
      <pc:sldChg chg="del">
        <pc:chgData name="Cody Rowe" userId="6208a3e9-fa2e-4d97-85f1-45aab1d5458d" providerId="ADAL" clId="{0346F8CC-5D91-46DD-B956-AF936652C5F2}" dt="2021-09-23T14:06:07.571" v="1962" actId="47"/>
        <pc:sldMkLst>
          <pc:docMk/>
          <pc:sldMk cId="1102166551" sldId="2145705930"/>
        </pc:sldMkLst>
      </pc:sldChg>
      <pc:sldChg chg="del">
        <pc:chgData name="Cody Rowe" userId="6208a3e9-fa2e-4d97-85f1-45aab1d5458d" providerId="ADAL" clId="{0346F8CC-5D91-46DD-B956-AF936652C5F2}" dt="2021-09-23T14:06:10.138" v="1965" actId="47"/>
        <pc:sldMkLst>
          <pc:docMk/>
          <pc:sldMk cId="1847866599" sldId="2145705932"/>
        </pc:sldMkLst>
      </pc:sldChg>
      <pc:sldChg chg="del">
        <pc:chgData name="Cody Rowe" userId="6208a3e9-fa2e-4d97-85f1-45aab1d5458d" providerId="ADAL" clId="{0346F8CC-5D91-46DD-B956-AF936652C5F2}" dt="2021-09-23T14:06:10.635" v="1966" actId="47"/>
        <pc:sldMkLst>
          <pc:docMk/>
          <pc:sldMk cId="3804043620" sldId="2145705933"/>
        </pc:sldMkLst>
      </pc:sldChg>
      <pc:sldChg chg="del">
        <pc:chgData name="Cody Rowe" userId="6208a3e9-fa2e-4d97-85f1-45aab1d5458d" providerId="ADAL" clId="{0346F8CC-5D91-46DD-B956-AF936652C5F2}" dt="2021-09-23T14:06:10.654" v="1967" actId="47"/>
        <pc:sldMkLst>
          <pc:docMk/>
          <pc:sldMk cId="1252690396" sldId="2145705934"/>
        </pc:sldMkLst>
      </pc:sldChg>
      <pc:sldChg chg="del">
        <pc:chgData name="Cody Rowe" userId="6208a3e9-fa2e-4d97-85f1-45aab1d5458d" providerId="ADAL" clId="{0346F8CC-5D91-46DD-B956-AF936652C5F2}" dt="2021-09-23T14:06:10.910" v="1968" actId="47"/>
        <pc:sldMkLst>
          <pc:docMk/>
          <pc:sldMk cId="4161746958" sldId="2145705935"/>
        </pc:sldMkLst>
      </pc:sldChg>
      <pc:sldChg chg="del">
        <pc:chgData name="Cody Rowe" userId="6208a3e9-fa2e-4d97-85f1-45aab1d5458d" providerId="ADAL" clId="{0346F8CC-5D91-46DD-B956-AF936652C5F2}" dt="2021-09-23T14:06:11.337" v="1969" actId="47"/>
        <pc:sldMkLst>
          <pc:docMk/>
          <pc:sldMk cId="3361212018" sldId="2145705936"/>
        </pc:sldMkLst>
      </pc:sldChg>
      <pc:sldChg chg="del">
        <pc:chgData name="Cody Rowe" userId="6208a3e9-fa2e-4d97-85f1-45aab1d5458d" providerId="ADAL" clId="{0346F8CC-5D91-46DD-B956-AF936652C5F2}" dt="2021-09-23T14:06:13.453" v="1974" actId="47"/>
        <pc:sldMkLst>
          <pc:docMk/>
          <pc:sldMk cId="2098457255" sldId="2145705937"/>
        </pc:sldMkLst>
      </pc:sldChg>
      <pc:sldChg chg="del">
        <pc:chgData name="Cody Rowe" userId="6208a3e9-fa2e-4d97-85f1-45aab1d5458d" providerId="ADAL" clId="{0346F8CC-5D91-46DD-B956-AF936652C5F2}" dt="2021-09-23T14:06:13.566" v="1976" actId="47"/>
        <pc:sldMkLst>
          <pc:docMk/>
          <pc:sldMk cId="1275719691" sldId="2145705938"/>
        </pc:sldMkLst>
      </pc:sldChg>
      <pc:sldChg chg="del">
        <pc:chgData name="Cody Rowe" userId="6208a3e9-fa2e-4d97-85f1-45aab1d5458d" providerId="ADAL" clId="{0346F8CC-5D91-46DD-B956-AF936652C5F2}" dt="2021-09-23T14:06:13.887" v="1978" actId="47"/>
        <pc:sldMkLst>
          <pc:docMk/>
          <pc:sldMk cId="645501948" sldId="2145705939"/>
        </pc:sldMkLst>
      </pc:sldChg>
      <pc:sldChg chg="del">
        <pc:chgData name="Cody Rowe" userId="6208a3e9-fa2e-4d97-85f1-45aab1d5458d" providerId="ADAL" clId="{0346F8CC-5D91-46DD-B956-AF936652C5F2}" dt="2021-09-23T14:06:14.055" v="1979" actId="47"/>
        <pc:sldMkLst>
          <pc:docMk/>
          <pc:sldMk cId="3186783452" sldId="2145705940"/>
        </pc:sldMkLst>
      </pc:sldChg>
      <pc:sldChg chg="del">
        <pc:chgData name="Cody Rowe" userId="6208a3e9-fa2e-4d97-85f1-45aab1d5458d" providerId="ADAL" clId="{0346F8CC-5D91-46DD-B956-AF936652C5F2}" dt="2021-09-23T14:06:16.959" v="1986" actId="47"/>
        <pc:sldMkLst>
          <pc:docMk/>
          <pc:sldMk cId="1912072633" sldId="2145705941"/>
        </pc:sldMkLst>
      </pc:sldChg>
      <pc:sldChg chg="del">
        <pc:chgData name="Cody Rowe" userId="6208a3e9-fa2e-4d97-85f1-45aab1d5458d" providerId="ADAL" clId="{0346F8CC-5D91-46DD-B956-AF936652C5F2}" dt="2021-09-23T14:06:16.776" v="1985" actId="47"/>
        <pc:sldMkLst>
          <pc:docMk/>
          <pc:sldMk cId="258342502" sldId="2145705943"/>
        </pc:sldMkLst>
      </pc:sldChg>
      <pc:sldChg chg="del">
        <pc:chgData name="Cody Rowe" userId="6208a3e9-fa2e-4d97-85f1-45aab1d5458d" providerId="ADAL" clId="{0346F8CC-5D91-46DD-B956-AF936652C5F2}" dt="2021-09-23T14:06:15.314" v="1980" actId="47"/>
        <pc:sldMkLst>
          <pc:docMk/>
          <pc:sldMk cId="4043095027" sldId="2145705945"/>
        </pc:sldMkLst>
      </pc:sldChg>
      <pc:sldChg chg="del">
        <pc:chgData name="Cody Rowe" userId="6208a3e9-fa2e-4d97-85f1-45aab1d5458d" providerId="ADAL" clId="{0346F8CC-5D91-46DD-B956-AF936652C5F2}" dt="2021-09-23T14:06:15.643" v="1982" actId="47"/>
        <pc:sldMkLst>
          <pc:docMk/>
          <pc:sldMk cId="2931763207" sldId="2145705946"/>
        </pc:sldMkLst>
      </pc:sldChg>
      <pc:sldChg chg="del">
        <pc:chgData name="Cody Rowe" userId="6208a3e9-fa2e-4d97-85f1-45aab1d5458d" providerId="ADAL" clId="{0346F8CC-5D91-46DD-B956-AF936652C5F2}" dt="2021-09-23T14:06:17.170" v="1987" actId="47"/>
        <pc:sldMkLst>
          <pc:docMk/>
          <pc:sldMk cId="349597800" sldId="2145705948"/>
        </pc:sldMkLst>
      </pc:sldChg>
      <pc:sldChg chg="del">
        <pc:chgData name="Cody Rowe" userId="6208a3e9-fa2e-4d97-85f1-45aab1d5458d" providerId="ADAL" clId="{0346F8CC-5D91-46DD-B956-AF936652C5F2}" dt="2021-09-23T14:06:13.015" v="1972" actId="47"/>
        <pc:sldMkLst>
          <pc:docMk/>
          <pc:sldMk cId="1744018330" sldId="2145705949"/>
        </pc:sldMkLst>
      </pc:sldChg>
      <pc:sldChg chg="del">
        <pc:chgData name="Cody Rowe" userId="6208a3e9-fa2e-4d97-85f1-45aab1d5458d" providerId="ADAL" clId="{0346F8CC-5D91-46DD-B956-AF936652C5F2}" dt="2021-09-23T14:06:19.550" v="1993" actId="47"/>
        <pc:sldMkLst>
          <pc:docMk/>
          <pc:sldMk cId="1456388625" sldId="2145705950"/>
        </pc:sldMkLst>
      </pc:sldChg>
      <pc:sldChg chg="del">
        <pc:chgData name="Cody Rowe" userId="6208a3e9-fa2e-4d97-85f1-45aab1d5458d" providerId="ADAL" clId="{0346F8CC-5D91-46DD-B956-AF936652C5F2}" dt="2021-09-23T14:06:18.779" v="1991" actId="47"/>
        <pc:sldMkLst>
          <pc:docMk/>
          <pc:sldMk cId="2773367745" sldId="2145705951"/>
        </pc:sldMkLst>
      </pc:sldChg>
      <pc:sldChg chg="del">
        <pc:chgData name="Cody Rowe" userId="6208a3e9-fa2e-4d97-85f1-45aab1d5458d" providerId="ADAL" clId="{0346F8CC-5D91-46DD-B956-AF936652C5F2}" dt="2021-09-23T14:06:08.222" v="1963" actId="47"/>
        <pc:sldMkLst>
          <pc:docMk/>
          <pc:sldMk cId="673241381" sldId="2145705952"/>
        </pc:sldMkLst>
      </pc:sldChg>
      <pc:sldChg chg="modSp mod">
        <pc:chgData name="Cody Rowe" userId="6208a3e9-fa2e-4d97-85f1-45aab1d5458d" providerId="ADAL" clId="{0346F8CC-5D91-46DD-B956-AF936652C5F2}" dt="2021-09-22T19:48:11.780" v="342" actId="6549"/>
        <pc:sldMkLst>
          <pc:docMk/>
          <pc:sldMk cId="3308341552" sldId="2145705953"/>
        </pc:sldMkLst>
        <pc:spChg chg="mod">
          <ac:chgData name="Cody Rowe" userId="6208a3e9-fa2e-4d97-85f1-45aab1d5458d" providerId="ADAL" clId="{0346F8CC-5D91-46DD-B956-AF936652C5F2}" dt="2021-09-22T19:48:11.780" v="342" actId="6549"/>
          <ac:spMkLst>
            <pc:docMk/>
            <pc:sldMk cId="3308341552" sldId="2145705953"/>
            <ac:spMk id="42" creationId="{1D67ACEB-DBC4-4D01-9DF9-D5BDAF5B1629}"/>
          </ac:spMkLst>
        </pc:spChg>
      </pc:sldChg>
      <pc:sldChg chg="del">
        <pc:chgData name="Cody Rowe" userId="6208a3e9-fa2e-4d97-85f1-45aab1d5458d" providerId="ADAL" clId="{0346F8CC-5D91-46DD-B956-AF936652C5F2}" dt="2021-09-23T14:06:08.620" v="1964" actId="47"/>
        <pc:sldMkLst>
          <pc:docMk/>
          <pc:sldMk cId="2659890212" sldId="2145705954"/>
        </pc:sldMkLst>
      </pc:sldChg>
      <pc:sldChg chg="del">
        <pc:chgData name="Cody Rowe" userId="6208a3e9-fa2e-4d97-85f1-45aab1d5458d" providerId="ADAL" clId="{0346F8CC-5D91-46DD-B956-AF936652C5F2}" dt="2021-09-23T14:06:12.667" v="1970" actId="47"/>
        <pc:sldMkLst>
          <pc:docMk/>
          <pc:sldMk cId="1785097919" sldId="2145705956"/>
        </pc:sldMkLst>
      </pc:sldChg>
      <pc:sldChg chg="del">
        <pc:chgData name="Cody Rowe" userId="6208a3e9-fa2e-4d97-85f1-45aab1d5458d" providerId="ADAL" clId="{0346F8CC-5D91-46DD-B956-AF936652C5F2}" dt="2021-09-23T14:06:13.434" v="1973" actId="47"/>
        <pc:sldMkLst>
          <pc:docMk/>
          <pc:sldMk cId="1724365694" sldId="2145705957"/>
        </pc:sldMkLst>
      </pc:sldChg>
      <pc:sldChg chg="del">
        <pc:chgData name="Cody Rowe" userId="6208a3e9-fa2e-4d97-85f1-45aab1d5458d" providerId="ADAL" clId="{0346F8CC-5D91-46DD-B956-AF936652C5F2}" dt="2021-09-23T14:06:13.473" v="1975" actId="47"/>
        <pc:sldMkLst>
          <pc:docMk/>
          <pc:sldMk cId="748225634" sldId="2145705958"/>
        </pc:sldMkLst>
      </pc:sldChg>
      <pc:sldChg chg="del">
        <pc:chgData name="Cody Rowe" userId="6208a3e9-fa2e-4d97-85f1-45aab1d5458d" providerId="ADAL" clId="{0346F8CC-5D91-46DD-B956-AF936652C5F2}" dt="2021-09-23T14:06:13.723" v="1977" actId="47"/>
        <pc:sldMkLst>
          <pc:docMk/>
          <pc:sldMk cId="1410583238" sldId="2145705959"/>
        </pc:sldMkLst>
      </pc:sldChg>
      <pc:sldChg chg="del">
        <pc:chgData name="Cody Rowe" userId="6208a3e9-fa2e-4d97-85f1-45aab1d5458d" providerId="ADAL" clId="{0346F8CC-5D91-46DD-B956-AF936652C5F2}" dt="2021-09-23T14:06:15.472" v="1981" actId="47"/>
        <pc:sldMkLst>
          <pc:docMk/>
          <pc:sldMk cId="1316817330" sldId="2145705960"/>
        </pc:sldMkLst>
      </pc:sldChg>
      <pc:sldChg chg="del">
        <pc:chgData name="Cody Rowe" userId="6208a3e9-fa2e-4d97-85f1-45aab1d5458d" providerId="ADAL" clId="{0346F8CC-5D91-46DD-B956-AF936652C5F2}" dt="2021-09-23T14:06:15.804" v="1983" actId="47"/>
        <pc:sldMkLst>
          <pc:docMk/>
          <pc:sldMk cId="2059233690" sldId="2145705961"/>
        </pc:sldMkLst>
      </pc:sldChg>
      <pc:sldChg chg="del">
        <pc:chgData name="Cody Rowe" userId="6208a3e9-fa2e-4d97-85f1-45aab1d5458d" providerId="ADAL" clId="{0346F8CC-5D91-46DD-B956-AF936652C5F2}" dt="2021-09-23T14:06:17.767" v="1988" actId="47"/>
        <pc:sldMkLst>
          <pc:docMk/>
          <pc:sldMk cId="606394771" sldId="2145705962"/>
        </pc:sldMkLst>
      </pc:sldChg>
      <pc:sldChg chg="del">
        <pc:chgData name="Cody Rowe" userId="6208a3e9-fa2e-4d97-85f1-45aab1d5458d" providerId="ADAL" clId="{0346F8CC-5D91-46DD-B956-AF936652C5F2}" dt="2021-09-23T14:06:18.062" v="1989" actId="47"/>
        <pc:sldMkLst>
          <pc:docMk/>
          <pc:sldMk cId="2399568738" sldId="2145705963"/>
        </pc:sldMkLst>
      </pc:sldChg>
      <pc:sldChg chg="del">
        <pc:chgData name="Cody Rowe" userId="6208a3e9-fa2e-4d97-85f1-45aab1d5458d" providerId="ADAL" clId="{0346F8CC-5D91-46DD-B956-AF936652C5F2}" dt="2021-09-23T14:06:18.308" v="1990" actId="47"/>
        <pc:sldMkLst>
          <pc:docMk/>
          <pc:sldMk cId="2194834744" sldId="2145705964"/>
        </pc:sldMkLst>
      </pc:sldChg>
      <pc:sldChg chg="del">
        <pc:chgData name="Cody Rowe" userId="6208a3e9-fa2e-4d97-85f1-45aab1d5458d" providerId="ADAL" clId="{0346F8CC-5D91-46DD-B956-AF936652C5F2}" dt="2021-09-23T14:06:19.199" v="1992" actId="47"/>
        <pc:sldMkLst>
          <pc:docMk/>
          <pc:sldMk cId="227069733" sldId="2145705965"/>
        </pc:sldMkLst>
      </pc:sldChg>
      <pc:sldChg chg="addSp delSp modSp new add del mod modNotesTx">
        <pc:chgData name="Cody Rowe" userId="6208a3e9-fa2e-4d97-85f1-45aab1d5458d" providerId="ADAL" clId="{0346F8CC-5D91-46DD-B956-AF936652C5F2}" dt="2021-09-23T13:49:10.996" v="1824" actId="20577"/>
        <pc:sldMkLst>
          <pc:docMk/>
          <pc:sldMk cId="1652592379" sldId="2145705966"/>
        </pc:sldMkLst>
        <pc:spChg chg="del">
          <ac:chgData name="Cody Rowe" userId="6208a3e9-fa2e-4d97-85f1-45aab1d5458d" providerId="ADAL" clId="{0346F8CC-5D91-46DD-B956-AF936652C5F2}" dt="2021-09-23T12:35:37.015" v="553" actId="26606"/>
          <ac:spMkLst>
            <pc:docMk/>
            <pc:sldMk cId="1652592379" sldId="2145705966"/>
            <ac:spMk id="2" creationId="{F19E657A-7B0F-4E7B-A577-1247C0483C32}"/>
          </ac:spMkLst>
        </pc:spChg>
        <pc:spChg chg="del">
          <ac:chgData name="Cody Rowe" userId="6208a3e9-fa2e-4d97-85f1-45aab1d5458d" providerId="ADAL" clId="{0346F8CC-5D91-46DD-B956-AF936652C5F2}" dt="2021-09-23T12:23:51.650" v="544" actId="478"/>
          <ac:spMkLst>
            <pc:docMk/>
            <pc:sldMk cId="1652592379" sldId="2145705966"/>
            <ac:spMk id="3" creationId="{0EADCFF4-D9B0-45F6-A4D7-0DD11FBF2AEE}"/>
          </ac:spMkLst>
        </pc:spChg>
        <pc:spChg chg="del mod">
          <ac:chgData name="Cody Rowe" userId="6208a3e9-fa2e-4d97-85f1-45aab1d5458d" providerId="ADAL" clId="{0346F8CC-5D91-46DD-B956-AF936652C5F2}" dt="2021-09-23T12:35:17.294" v="548" actId="478"/>
          <ac:spMkLst>
            <pc:docMk/>
            <pc:sldMk cId="1652592379" sldId="2145705966"/>
            <ac:spMk id="3" creationId="{2450530D-8031-4D72-BB3E-C81B806B204C}"/>
          </ac:spMkLst>
        </pc:spChg>
        <pc:spChg chg="add mod">
          <ac:chgData name="Cody Rowe" userId="6208a3e9-fa2e-4d97-85f1-45aab1d5458d" providerId="ADAL" clId="{0346F8CC-5D91-46DD-B956-AF936652C5F2}" dt="2021-09-23T13:48:01.999" v="1748" actId="26606"/>
          <ac:spMkLst>
            <pc:docMk/>
            <pc:sldMk cId="1652592379" sldId="2145705966"/>
            <ac:spMk id="10" creationId="{8F87EDC1-FE10-4B1D-BF81-0B59B2F3BD54}"/>
          </ac:spMkLst>
        </pc:spChg>
        <pc:picChg chg="add del mod">
          <ac:chgData name="Cody Rowe" userId="6208a3e9-fa2e-4d97-85f1-45aab1d5458d" providerId="ADAL" clId="{0346F8CC-5D91-46DD-B956-AF936652C5F2}" dt="2021-09-23T13:47:55.141" v="1743" actId="478"/>
          <ac:picMkLst>
            <pc:docMk/>
            <pc:sldMk cId="1652592379" sldId="2145705966"/>
            <ac:picMk id="5" creationId="{B3861260-2DD0-4DF5-8E23-7AEA96C6A7D5}"/>
          </ac:picMkLst>
        </pc:picChg>
        <pc:picChg chg="add del mod">
          <ac:chgData name="Cody Rowe" userId="6208a3e9-fa2e-4d97-85f1-45aab1d5458d" providerId="ADAL" clId="{0346F8CC-5D91-46DD-B956-AF936652C5F2}" dt="2021-09-23T13:48:21.426" v="1750" actId="478"/>
          <ac:picMkLst>
            <pc:docMk/>
            <pc:sldMk cId="1652592379" sldId="2145705966"/>
            <ac:picMk id="7" creationId="{393C6B93-3F25-4F11-A442-C28EB4BB5901}"/>
          </ac:picMkLst>
        </pc:picChg>
        <pc:picChg chg="add mod">
          <ac:chgData name="Cody Rowe" userId="6208a3e9-fa2e-4d97-85f1-45aab1d5458d" providerId="ADAL" clId="{0346F8CC-5D91-46DD-B956-AF936652C5F2}" dt="2021-09-23T13:48:51.130" v="1753" actId="27614"/>
          <ac:picMkLst>
            <pc:docMk/>
            <pc:sldMk cId="1652592379" sldId="2145705966"/>
            <ac:picMk id="9" creationId="{211192F5-664C-47D7-9903-6FFC31FDC0E7}"/>
          </ac:picMkLst>
        </pc:picChg>
      </pc:sldChg>
      <pc:sldChg chg="addSp">
        <pc:chgData name="Cody Rowe" userId="6208a3e9-fa2e-4d97-85f1-45aab1d5458d" providerId="ADAL" clId="{0346F8CC-5D91-46DD-B956-AF936652C5F2}" dt="2021-09-23T12:35:12.901" v="545"/>
        <pc:sldMkLst>
          <pc:docMk/>
          <pc:sldMk cId="3625785855" sldId="2145705966"/>
        </pc:sldMkLst>
        <pc:spChg chg="add">
          <ac:chgData name="Cody Rowe" userId="6208a3e9-fa2e-4d97-85f1-45aab1d5458d" providerId="ADAL" clId="{0346F8CC-5D91-46DD-B956-AF936652C5F2}" dt="2021-09-23T12:35:12.901" v="545"/>
          <ac:spMkLst>
            <pc:docMk/>
            <pc:sldMk cId="3625785855" sldId="2145705966"/>
            <ac:spMk id="3" creationId="{2450530D-8031-4D72-BB3E-C81B806B204C}"/>
          </ac:spMkLst>
        </pc:spChg>
      </pc:sldChg>
      <pc:sldChg chg="modSp new mod">
        <pc:chgData name="Cody Rowe" userId="6208a3e9-fa2e-4d97-85f1-45aab1d5458d" providerId="ADAL" clId="{0346F8CC-5D91-46DD-B956-AF936652C5F2}" dt="2021-09-23T13:26:35.274" v="1173" actId="20577"/>
        <pc:sldMkLst>
          <pc:docMk/>
          <pc:sldMk cId="1060865476" sldId="2145705967"/>
        </pc:sldMkLst>
        <pc:spChg chg="mod">
          <ac:chgData name="Cody Rowe" userId="6208a3e9-fa2e-4d97-85f1-45aab1d5458d" providerId="ADAL" clId="{0346F8CC-5D91-46DD-B956-AF936652C5F2}" dt="2021-09-23T13:26:35.274" v="1173" actId="20577"/>
          <ac:spMkLst>
            <pc:docMk/>
            <pc:sldMk cId="1060865476" sldId="2145705967"/>
            <ac:spMk id="2" creationId="{32CDF820-100C-453B-8DA6-E2D11D6EE5F7}"/>
          </ac:spMkLst>
        </pc:spChg>
        <pc:spChg chg="mod">
          <ac:chgData name="Cody Rowe" userId="6208a3e9-fa2e-4d97-85f1-45aab1d5458d" providerId="ADAL" clId="{0346F8CC-5D91-46DD-B956-AF936652C5F2}" dt="2021-09-23T13:25:06.777" v="1118" actId="1076"/>
          <ac:spMkLst>
            <pc:docMk/>
            <pc:sldMk cId="1060865476" sldId="2145705967"/>
            <ac:spMk id="3" creationId="{58609879-96F5-446F-99CA-5CE8169CD36B}"/>
          </ac:spMkLst>
        </pc:spChg>
      </pc:sldChg>
      <pc:sldChg chg="addSp delSp modSp new mod">
        <pc:chgData name="Cody Rowe" userId="6208a3e9-fa2e-4d97-85f1-45aab1d5458d" providerId="ADAL" clId="{0346F8CC-5D91-46DD-B956-AF936652C5F2}" dt="2021-09-23T13:26:18.759" v="1151" actId="26606"/>
        <pc:sldMkLst>
          <pc:docMk/>
          <pc:sldMk cId="1795444465" sldId="2145705968"/>
        </pc:sldMkLst>
        <pc:spChg chg="mod">
          <ac:chgData name="Cody Rowe" userId="6208a3e9-fa2e-4d97-85f1-45aab1d5458d" providerId="ADAL" clId="{0346F8CC-5D91-46DD-B956-AF936652C5F2}" dt="2021-09-23T13:26:00.678" v="1148" actId="26606"/>
          <ac:spMkLst>
            <pc:docMk/>
            <pc:sldMk cId="1795444465" sldId="2145705968"/>
            <ac:spMk id="2" creationId="{A517FD77-291A-4951-A226-402ED4B67678}"/>
          </ac:spMkLst>
        </pc:spChg>
        <pc:spChg chg="del mod">
          <ac:chgData name="Cody Rowe" userId="6208a3e9-fa2e-4d97-85f1-45aab1d5458d" providerId="ADAL" clId="{0346F8CC-5D91-46DD-B956-AF936652C5F2}" dt="2021-09-23T13:25:54.008" v="1147" actId="478"/>
          <ac:spMkLst>
            <pc:docMk/>
            <pc:sldMk cId="1795444465" sldId="2145705968"/>
            <ac:spMk id="3" creationId="{04730CF7-DE35-474C-AAE4-EF81DBF562E2}"/>
          </ac:spMkLst>
        </pc:spChg>
        <pc:picChg chg="add del mod">
          <ac:chgData name="Cody Rowe" userId="6208a3e9-fa2e-4d97-85f1-45aab1d5458d" providerId="ADAL" clId="{0346F8CC-5D91-46DD-B956-AF936652C5F2}" dt="2021-09-23T13:26:16.363" v="1149" actId="478"/>
          <ac:picMkLst>
            <pc:docMk/>
            <pc:sldMk cId="1795444465" sldId="2145705968"/>
            <ac:picMk id="5" creationId="{F8F1B3CC-6723-46E5-93DA-9B2AD10C7541}"/>
          </ac:picMkLst>
        </pc:picChg>
        <pc:picChg chg="add mod">
          <ac:chgData name="Cody Rowe" userId="6208a3e9-fa2e-4d97-85f1-45aab1d5458d" providerId="ADAL" clId="{0346F8CC-5D91-46DD-B956-AF936652C5F2}" dt="2021-09-23T13:26:18.759" v="1151" actId="26606"/>
          <ac:picMkLst>
            <pc:docMk/>
            <pc:sldMk cId="1795444465" sldId="2145705968"/>
            <ac:picMk id="7" creationId="{E4BBA81A-FF88-49D9-962E-8B4481BF8777}"/>
          </ac:picMkLst>
        </pc:picChg>
      </pc:sldChg>
      <pc:sldChg chg="modSp add mod modNotesTx">
        <pc:chgData name="Cody Rowe" userId="6208a3e9-fa2e-4d97-85f1-45aab1d5458d" providerId="ADAL" clId="{0346F8CC-5D91-46DD-B956-AF936652C5F2}" dt="2021-09-23T14:11:03.389" v="2142" actId="20577"/>
        <pc:sldMkLst>
          <pc:docMk/>
          <pc:sldMk cId="2098099604" sldId="2145705969"/>
        </pc:sldMkLst>
        <pc:spChg chg="mod">
          <ac:chgData name="Cody Rowe" userId="6208a3e9-fa2e-4d97-85f1-45aab1d5458d" providerId="ADAL" clId="{0346F8CC-5D91-46DD-B956-AF936652C5F2}" dt="2021-09-23T13:27:44.599" v="1176" actId="108"/>
          <ac:spMkLst>
            <pc:docMk/>
            <pc:sldMk cId="2098099604" sldId="2145705969"/>
            <ac:spMk id="42" creationId="{1D67ACEB-DBC4-4D01-9DF9-D5BDAF5B1629}"/>
          </ac:spMkLst>
        </pc:spChg>
      </pc:sldChg>
      <pc:sldChg chg="addSp delSp modSp new mod modClrScheme chgLayout">
        <pc:chgData name="Cody Rowe" userId="6208a3e9-fa2e-4d97-85f1-45aab1d5458d" providerId="ADAL" clId="{0346F8CC-5D91-46DD-B956-AF936652C5F2}" dt="2021-09-23T13:44:55.422" v="1742" actId="20577"/>
        <pc:sldMkLst>
          <pc:docMk/>
          <pc:sldMk cId="2592150698" sldId="2145705970"/>
        </pc:sldMkLst>
        <pc:spChg chg="add mod">
          <ac:chgData name="Cody Rowe" userId="6208a3e9-fa2e-4d97-85f1-45aab1d5458d" providerId="ADAL" clId="{0346F8CC-5D91-46DD-B956-AF936652C5F2}" dt="2021-09-23T13:43:16.524" v="1630" actId="313"/>
          <ac:spMkLst>
            <pc:docMk/>
            <pc:sldMk cId="2592150698" sldId="2145705970"/>
            <ac:spMk id="6" creationId="{DA82DD4E-DDB8-49CB-82D1-935E4AADC8F0}"/>
          </ac:spMkLst>
        </pc:spChg>
        <pc:spChg chg="add del mod">
          <ac:chgData name="Cody Rowe" userId="6208a3e9-fa2e-4d97-85f1-45aab1d5458d" providerId="ADAL" clId="{0346F8CC-5D91-46DD-B956-AF936652C5F2}" dt="2021-09-23T13:28:33.077" v="1225" actId="26606"/>
          <ac:spMkLst>
            <pc:docMk/>
            <pc:sldMk cId="2592150698" sldId="2145705970"/>
            <ac:spMk id="11" creationId="{FE23E3C0-AFC0-437B-8662-D2833C87A375}"/>
          </ac:spMkLst>
        </pc:spChg>
        <pc:spChg chg="add del mod">
          <ac:chgData name="Cody Rowe" userId="6208a3e9-fa2e-4d97-85f1-45aab1d5458d" providerId="ADAL" clId="{0346F8CC-5D91-46DD-B956-AF936652C5F2}" dt="2021-09-23T13:28:33.077" v="1225" actId="26606"/>
          <ac:spMkLst>
            <pc:docMk/>
            <pc:sldMk cId="2592150698" sldId="2145705970"/>
            <ac:spMk id="13" creationId="{DE2BF1FB-A036-449D-959C-7B4FACAC73D9}"/>
          </ac:spMkLst>
        </pc:spChg>
        <pc:spChg chg="add mod">
          <ac:chgData name="Cody Rowe" userId="6208a3e9-fa2e-4d97-85f1-45aab1d5458d" providerId="ADAL" clId="{0346F8CC-5D91-46DD-B956-AF936652C5F2}" dt="2021-09-23T13:44:55.422" v="1742" actId="20577"/>
          <ac:spMkLst>
            <pc:docMk/>
            <pc:sldMk cId="2592150698" sldId="2145705970"/>
            <ac:spMk id="15" creationId="{1E566100-ADBB-4258-8EC3-23BBEEC9793D}"/>
          </ac:spMkLst>
        </pc:spChg>
      </pc:sldChg>
      <pc:sldChg chg="modSp add mod modNotesTx">
        <pc:chgData name="Cody Rowe" userId="6208a3e9-fa2e-4d97-85f1-45aab1d5458d" providerId="ADAL" clId="{0346F8CC-5D91-46DD-B956-AF936652C5F2}" dt="2021-09-23T14:10:58.800" v="2141" actId="20577"/>
        <pc:sldMkLst>
          <pc:docMk/>
          <pc:sldMk cId="623522613" sldId="2145705971"/>
        </pc:sldMkLst>
        <pc:spChg chg="mod">
          <ac:chgData name="Cody Rowe" userId="6208a3e9-fa2e-4d97-85f1-45aab1d5458d" providerId="ADAL" clId="{0346F8CC-5D91-46DD-B956-AF936652C5F2}" dt="2021-09-23T13:49:47.516" v="1827" actId="108"/>
          <ac:spMkLst>
            <pc:docMk/>
            <pc:sldMk cId="623522613" sldId="2145705971"/>
            <ac:spMk id="42" creationId="{1D67ACEB-DBC4-4D01-9DF9-D5BDAF5B1629}"/>
          </ac:spMkLst>
        </pc:spChg>
      </pc:sldChg>
      <pc:sldChg chg="addSp modSp add mod modClrScheme chgLayout">
        <pc:chgData name="Cody Rowe" userId="6208a3e9-fa2e-4d97-85f1-45aab1d5458d" providerId="ADAL" clId="{0346F8CC-5D91-46DD-B956-AF936652C5F2}" dt="2021-09-23T14:09:11.346" v="2042" actId="20577"/>
        <pc:sldMkLst>
          <pc:docMk/>
          <pc:sldMk cId="957674933" sldId="2145705972"/>
        </pc:sldMkLst>
        <pc:spChg chg="mod">
          <ac:chgData name="Cody Rowe" userId="6208a3e9-fa2e-4d97-85f1-45aab1d5458d" providerId="ADAL" clId="{0346F8CC-5D91-46DD-B956-AF936652C5F2}" dt="2021-09-23T13:54:19.771" v="1907" actId="26606"/>
          <ac:spMkLst>
            <pc:docMk/>
            <pc:sldMk cId="957674933" sldId="2145705972"/>
            <ac:spMk id="6" creationId="{DA82DD4E-DDB8-49CB-82D1-935E4AADC8F0}"/>
          </ac:spMkLst>
        </pc:spChg>
        <pc:spChg chg="mod">
          <ac:chgData name="Cody Rowe" userId="6208a3e9-fa2e-4d97-85f1-45aab1d5458d" providerId="ADAL" clId="{0346F8CC-5D91-46DD-B956-AF936652C5F2}" dt="2021-09-23T14:09:11.346" v="2042" actId="20577"/>
          <ac:spMkLst>
            <pc:docMk/>
            <pc:sldMk cId="957674933" sldId="2145705972"/>
            <ac:spMk id="15" creationId="{1E566100-ADBB-4258-8EC3-23BBEEC9793D}"/>
          </ac:spMkLst>
        </pc:spChg>
        <pc:picChg chg="add mod">
          <ac:chgData name="Cody Rowe" userId="6208a3e9-fa2e-4d97-85f1-45aab1d5458d" providerId="ADAL" clId="{0346F8CC-5D91-46DD-B956-AF936652C5F2}" dt="2021-09-23T13:54:19.771" v="1907" actId="26606"/>
          <ac:picMkLst>
            <pc:docMk/>
            <pc:sldMk cId="957674933" sldId="2145705972"/>
            <ac:picMk id="3" creationId="{A4FDBDA7-7FD7-42CB-BFB8-010417A992F4}"/>
          </ac:picMkLst>
        </pc:picChg>
      </pc:sldChg>
      <pc:sldChg chg="modSp add mod modNotesTx">
        <pc:chgData name="Cody Rowe" userId="6208a3e9-fa2e-4d97-85f1-45aab1d5458d" providerId="ADAL" clId="{0346F8CC-5D91-46DD-B956-AF936652C5F2}" dt="2021-09-23T14:10:55.496" v="2140" actId="20577"/>
        <pc:sldMkLst>
          <pc:docMk/>
          <pc:sldMk cId="1406682550" sldId="2145705973"/>
        </pc:sldMkLst>
        <pc:spChg chg="mod">
          <ac:chgData name="Cody Rowe" userId="6208a3e9-fa2e-4d97-85f1-45aab1d5458d" providerId="ADAL" clId="{0346F8CC-5D91-46DD-B956-AF936652C5F2}" dt="2021-09-23T14:08:44.512" v="1998" actId="108"/>
          <ac:spMkLst>
            <pc:docMk/>
            <pc:sldMk cId="1406682550" sldId="2145705973"/>
            <ac:spMk id="42" creationId="{1D67ACEB-DBC4-4D01-9DF9-D5BDAF5B1629}"/>
          </ac:spMkLst>
        </pc:spChg>
      </pc:sldChg>
      <pc:sldChg chg="modSp add mod">
        <pc:chgData name="Cody Rowe" userId="6208a3e9-fa2e-4d97-85f1-45aab1d5458d" providerId="ADAL" clId="{0346F8CC-5D91-46DD-B956-AF936652C5F2}" dt="2021-09-23T14:19:18.541" v="2437" actId="108"/>
        <pc:sldMkLst>
          <pc:docMk/>
          <pc:sldMk cId="3488994755" sldId="2145705974"/>
        </pc:sldMkLst>
        <pc:spChg chg="mod">
          <ac:chgData name="Cody Rowe" userId="6208a3e9-fa2e-4d97-85f1-45aab1d5458d" providerId="ADAL" clId="{0346F8CC-5D91-46DD-B956-AF936652C5F2}" dt="2021-09-23T14:10:13.420" v="2111" actId="20577"/>
          <ac:spMkLst>
            <pc:docMk/>
            <pc:sldMk cId="3488994755" sldId="2145705974"/>
            <ac:spMk id="6" creationId="{DA82DD4E-DDB8-49CB-82D1-935E4AADC8F0}"/>
          </ac:spMkLst>
        </pc:spChg>
        <pc:spChg chg="mod">
          <ac:chgData name="Cody Rowe" userId="6208a3e9-fa2e-4d97-85f1-45aab1d5458d" providerId="ADAL" clId="{0346F8CC-5D91-46DD-B956-AF936652C5F2}" dt="2021-09-23T14:19:18.541" v="2437" actId="108"/>
          <ac:spMkLst>
            <pc:docMk/>
            <pc:sldMk cId="3488994755" sldId="2145705974"/>
            <ac:spMk id="15" creationId="{1E566100-ADBB-4258-8EC3-23BBEEC9793D}"/>
          </ac:spMkLst>
        </pc:spChg>
      </pc:sldChg>
      <pc:sldChg chg="modSp add mod">
        <pc:chgData name="Cody Rowe" userId="6208a3e9-fa2e-4d97-85f1-45aab1d5458d" providerId="ADAL" clId="{0346F8CC-5D91-46DD-B956-AF936652C5F2}" dt="2021-09-23T14:10:24.935" v="2135" actId="20577"/>
        <pc:sldMkLst>
          <pc:docMk/>
          <pc:sldMk cId="2989074779" sldId="2145705975"/>
        </pc:sldMkLst>
        <pc:spChg chg="mod">
          <ac:chgData name="Cody Rowe" userId="6208a3e9-fa2e-4d97-85f1-45aab1d5458d" providerId="ADAL" clId="{0346F8CC-5D91-46DD-B956-AF936652C5F2}" dt="2021-09-23T14:10:24.935" v="2135" actId="20577"/>
          <ac:spMkLst>
            <pc:docMk/>
            <pc:sldMk cId="2989074779" sldId="2145705975"/>
            <ac:spMk id="6" creationId="{DA82DD4E-DDB8-49CB-82D1-935E4AADC8F0}"/>
          </ac:spMkLst>
        </pc:spChg>
      </pc:sldChg>
      <pc:sldChg chg="modSp add mod modNotesTx">
        <pc:chgData name="Cody Rowe" userId="6208a3e9-fa2e-4d97-85f1-45aab1d5458d" providerId="ADAL" clId="{0346F8CC-5D91-46DD-B956-AF936652C5F2}" dt="2021-09-23T14:10:52.171" v="2139" actId="6549"/>
        <pc:sldMkLst>
          <pc:docMk/>
          <pc:sldMk cId="2831405226" sldId="2145705976"/>
        </pc:sldMkLst>
        <pc:spChg chg="mod">
          <ac:chgData name="Cody Rowe" userId="6208a3e9-fa2e-4d97-85f1-45aab1d5458d" providerId="ADAL" clId="{0346F8CC-5D91-46DD-B956-AF936652C5F2}" dt="2021-09-23T14:10:43.570" v="2138" actId="108"/>
          <ac:spMkLst>
            <pc:docMk/>
            <pc:sldMk cId="2831405226" sldId="2145705976"/>
            <ac:spMk id="42" creationId="{1D67ACEB-DBC4-4D01-9DF9-D5BDAF5B1629}"/>
          </ac:spMkLst>
        </pc:spChg>
      </pc:sldChg>
      <pc:sldChg chg="modSp add mod">
        <pc:chgData name="Cody Rowe" userId="6208a3e9-fa2e-4d97-85f1-45aab1d5458d" providerId="ADAL" clId="{0346F8CC-5D91-46DD-B956-AF936652C5F2}" dt="2021-09-23T14:11:45.592" v="2187" actId="20577"/>
        <pc:sldMkLst>
          <pc:docMk/>
          <pc:sldMk cId="1436316695" sldId="2145705977"/>
        </pc:sldMkLst>
        <pc:spChg chg="mod">
          <ac:chgData name="Cody Rowe" userId="6208a3e9-fa2e-4d97-85f1-45aab1d5458d" providerId="ADAL" clId="{0346F8CC-5D91-46DD-B956-AF936652C5F2}" dt="2021-09-23T14:11:45.592" v="2187" actId="20577"/>
          <ac:spMkLst>
            <pc:docMk/>
            <pc:sldMk cId="1436316695" sldId="2145705977"/>
            <ac:spMk id="6" creationId="{DA82DD4E-DDB8-49CB-82D1-935E4AADC8F0}"/>
          </ac:spMkLst>
        </pc:spChg>
      </pc:sldChg>
      <pc:sldChg chg="modSp add mod">
        <pc:chgData name="Cody Rowe" userId="6208a3e9-fa2e-4d97-85f1-45aab1d5458d" providerId="ADAL" clId="{0346F8CC-5D91-46DD-B956-AF936652C5F2}" dt="2021-09-23T14:11:55.282" v="2203" actId="20577"/>
        <pc:sldMkLst>
          <pc:docMk/>
          <pc:sldMk cId="2805279653" sldId="2145705978"/>
        </pc:sldMkLst>
        <pc:spChg chg="mod">
          <ac:chgData name="Cody Rowe" userId="6208a3e9-fa2e-4d97-85f1-45aab1d5458d" providerId="ADAL" clId="{0346F8CC-5D91-46DD-B956-AF936652C5F2}" dt="2021-09-23T14:11:55.282" v="2203" actId="20577"/>
          <ac:spMkLst>
            <pc:docMk/>
            <pc:sldMk cId="2805279653" sldId="2145705978"/>
            <ac:spMk id="6" creationId="{DA82DD4E-DDB8-49CB-82D1-935E4AADC8F0}"/>
          </ac:spMkLst>
        </pc:spChg>
      </pc:sldChg>
      <pc:sldChg chg="modSp add mod">
        <pc:chgData name="Cody Rowe" userId="6208a3e9-fa2e-4d97-85f1-45aab1d5458d" providerId="ADAL" clId="{0346F8CC-5D91-46DD-B956-AF936652C5F2}" dt="2021-09-23T14:12:09.302" v="2206" actId="108"/>
        <pc:sldMkLst>
          <pc:docMk/>
          <pc:sldMk cId="3923618809" sldId="2145705979"/>
        </pc:sldMkLst>
        <pc:spChg chg="mod">
          <ac:chgData name="Cody Rowe" userId="6208a3e9-fa2e-4d97-85f1-45aab1d5458d" providerId="ADAL" clId="{0346F8CC-5D91-46DD-B956-AF936652C5F2}" dt="2021-09-23T14:12:09.302" v="2206" actId="108"/>
          <ac:spMkLst>
            <pc:docMk/>
            <pc:sldMk cId="3923618809" sldId="2145705979"/>
            <ac:spMk id="42" creationId="{1D67ACEB-DBC4-4D01-9DF9-D5BDAF5B1629}"/>
          </ac:spMkLst>
        </pc:spChg>
      </pc:sldChg>
      <pc:sldChg chg="addSp delSp modSp add mod modClrScheme chgLayout">
        <pc:chgData name="Cody Rowe" userId="6208a3e9-fa2e-4d97-85f1-45aab1d5458d" providerId="ADAL" clId="{0346F8CC-5D91-46DD-B956-AF936652C5F2}" dt="2021-09-23T14:14:27.069" v="2263" actId="1076"/>
        <pc:sldMkLst>
          <pc:docMk/>
          <pc:sldMk cId="1731211336" sldId="2145705980"/>
        </pc:sldMkLst>
        <pc:spChg chg="mod">
          <ac:chgData name="Cody Rowe" userId="6208a3e9-fa2e-4d97-85f1-45aab1d5458d" providerId="ADAL" clId="{0346F8CC-5D91-46DD-B956-AF936652C5F2}" dt="2021-09-23T14:14:18.514" v="2259" actId="26606"/>
          <ac:spMkLst>
            <pc:docMk/>
            <pc:sldMk cId="1731211336" sldId="2145705980"/>
            <ac:spMk id="6" creationId="{DA82DD4E-DDB8-49CB-82D1-935E4AADC8F0}"/>
          </ac:spMkLst>
        </pc:spChg>
        <pc:spChg chg="del">
          <ac:chgData name="Cody Rowe" userId="6208a3e9-fa2e-4d97-85f1-45aab1d5458d" providerId="ADAL" clId="{0346F8CC-5D91-46DD-B956-AF936652C5F2}" dt="2021-09-23T14:13:12.857" v="2237" actId="478"/>
          <ac:spMkLst>
            <pc:docMk/>
            <pc:sldMk cId="1731211336" sldId="2145705980"/>
            <ac:spMk id="15" creationId="{1E566100-ADBB-4258-8EC3-23BBEEC9793D}"/>
          </ac:spMkLst>
        </pc:spChg>
        <pc:picChg chg="add del mod">
          <ac:chgData name="Cody Rowe" userId="6208a3e9-fa2e-4d97-85f1-45aab1d5458d" providerId="ADAL" clId="{0346F8CC-5D91-46DD-B956-AF936652C5F2}" dt="2021-09-23T14:14:04.214" v="2255" actId="478"/>
          <ac:picMkLst>
            <pc:docMk/>
            <pc:sldMk cId="1731211336" sldId="2145705980"/>
            <ac:picMk id="3" creationId="{0C01E73F-BFC6-49A1-A9B2-4C69184F1D4F}"/>
          </ac:picMkLst>
        </pc:picChg>
        <pc:picChg chg="add del mod">
          <ac:chgData name="Cody Rowe" userId="6208a3e9-fa2e-4d97-85f1-45aab1d5458d" providerId="ADAL" clId="{0346F8CC-5D91-46DD-B956-AF936652C5F2}" dt="2021-09-23T14:13:53.514" v="2254" actId="478"/>
          <ac:picMkLst>
            <pc:docMk/>
            <pc:sldMk cId="1731211336" sldId="2145705980"/>
            <ac:picMk id="4" creationId="{7008E0DF-2D28-42C2-8CA1-460F565B9BE0}"/>
          </ac:picMkLst>
        </pc:picChg>
        <pc:picChg chg="add mod">
          <ac:chgData name="Cody Rowe" userId="6208a3e9-fa2e-4d97-85f1-45aab1d5458d" providerId="ADAL" clId="{0346F8CC-5D91-46DD-B956-AF936652C5F2}" dt="2021-09-23T14:14:27.069" v="2263" actId="1076"/>
          <ac:picMkLst>
            <pc:docMk/>
            <pc:sldMk cId="1731211336" sldId="2145705980"/>
            <ac:picMk id="8" creationId="{8AF0CB4A-7564-4F5B-9E80-5EB2A30E3BC4}"/>
          </ac:picMkLst>
        </pc:picChg>
      </pc:sldChg>
      <pc:sldChg chg="addSp delSp modSp add mod">
        <pc:chgData name="Cody Rowe" userId="6208a3e9-fa2e-4d97-85f1-45aab1d5458d" providerId="ADAL" clId="{0346F8CC-5D91-46DD-B956-AF936652C5F2}" dt="2021-09-23T14:15:01.999" v="2272" actId="1076"/>
        <pc:sldMkLst>
          <pc:docMk/>
          <pc:sldMk cId="1249305461" sldId="2145705981"/>
        </pc:sldMkLst>
        <pc:spChg chg="mod">
          <ac:chgData name="Cody Rowe" userId="6208a3e9-fa2e-4d97-85f1-45aab1d5458d" providerId="ADAL" clId="{0346F8CC-5D91-46DD-B956-AF936652C5F2}" dt="2021-09-23T14:14:39.142" v="2269" actId="20577"/>
          <ac:spMkLst>
            <pc:docMk/>
            <pc:sldMk cId="1249305461" sldId="2145705981"/>
            <ac:spMk id="6" creationId="{DA82DD4E-DDB8-49CB-82D1-935E4AADC8F0}"/>
          </ac:spMkLst>
        </pc:spChg>
        <pc:picChg chg="add mod">
          <ac:chgData name="Cody Rowe" userId="6208a3e9-fa2e-4d97-85f1-45aab1d5458d" providerId="ADAL" clId="{0346F8CC-5D91-46DD-B956-AF936652C5F2}" dt="2021-09-23T14:15:01.999" v="2272" actId="1076"/>
          <ac:picMkLst>
            <pc:docMk/>
            <pc:sldMk cId="1249305461" sldId="2145705981"/>
            <ac:picMk id="3" creationId="{E52D8B1B-74BE-4EEA-A407-31D004B016BB}"/>
          </ac:picMkLst>
        </pc:picChg>
        <pc:picChg chg="del">
          <ac:chgData name="Cody Rowe" userId="6208a3e9-fa2e-4d97-85f1-45aab1d5458d" providerId="ADAL" clId="{0346F8CC-5D91-46DD-B956-AF936652C5F2}" dt="2021-09-23T14:14:40.861" v="2270" actId="478"/>
          <ac:picMkLst>
            <pc:docMk/>
            <pc:sldMk cId="1249305461" sldId="2145705981"/>
            <ac:picMk id="8" creationId="{8AF0CB4A-7564-4F5B-9E80-5EB2A30E3BC4}"/>
          </ac:picMkLst>
        </pc:picChg>
      </pc:sldChg>
      <pc:sldChg chg="addSp delSp modSp add mod">
        <pc:chgData name="Cody Rowe" userId="6208a3e9-fa2e-4d97-85f1-45aab1d5458d" providerId="ADAL" clId="{0346F8CC-5D91-46DD-B956-AF936652C5F2}" dt="2021-09-23T14:15:29.233" v="2282" actId="1076"/>
        <pc:sldMkLst>
          <pc:docMk/>
          <pc:sldMk cId="2110403398" sldId="2145705982"/>
        </pc:sldMkLst>
        <pc:spChg chg="mod">
          <ac:chgData name="Cody Rowe" userId="6208a3e9-fa2e-4d97-85f1-45aab1d5458d" providerId="ADAL" clId="{0346F8CC-5D91-46DD-B956-AF936652C5F2}" dt="2021-09-23T14:15:10.404" v="2279" actId="20577"/>
          <ac:spMkLst>
            <pc:docMk/>
            <pc:sldMk cId="2110403398" sldId="2145705982"/>
            <ac:spMk id="6" creationId="{DA82DD4E-DDB8-49CB-82D1-935E4AADC8F0}"/>
          </ac:spMkLst>
        </pc:spChg>
        <pc:picChg chg="add mod">
          <ac:chgData name="Cody Rowe" userId="6208a3e9-fa2e-4d97-85f1-45aab1d5458d" providerId="ADAL" clId="{0346F8CC-5D91-46DD-B956-AF936652C5F2}" dt="2021-09-23T14:15:29.233" v="2282" actId="1076"/>
          <ac:picMkLst>
            <pc:docMk/>
            <pc:sldMk cId="2110403398" sldId="2145705982"/>
            <ac:picMk id="3" creationId="{1A44CABA-227F-4321-A7A4-61E189AF9F94}"/>
          </ac:picMkLst>
        </pc:picChg>
        <pc:picChg chg="del">
          <ac:chgData name="Cody Rowe" userId="6208a3e9-fa2e-4d97-85f1-45aab1d5458d" providerId="ADAL" clId="{0346F8CC-5D91-46DD-B956-AF936652C5F2}" dt="2021-09-23T14:15:12.365" v="2280" actId="478"/>
          <ac:picMkLst>
            <pc:docMk/>
            <pc:sldMk cId="2110403398" sldId="2145705982"/>
            <ac:picMk id="8" creationId="{8AF0CB4A-7564-4F5B-9E80-5EB2A30E3BC4}"/>
          </ac:picMkLst>
        </pc:picChg>
      </pc:sldChg>
      <pc:sldChg chg="addSp delSp modSp add mod">
        <pc:chgData name="Cody Rowe" userId="6208a3e9-fa2e-4d97-85f1-45aab1d5458d" providerId="ADAL" clId="{0346F8CC-5D91-46DD-B956-AF936652C5F2}" dt="2021-09-23T14:15:55.641" v="2295" actId="1076"/>
        <pc:sldMkLst>
          <pc:docMk/>
          <pc:sldMk cId="1981300406" sldId="2145705983"/>
        </pc:sldMkLst>
        <pc:spChg chg="mod">
          <ac:chgData name="Cody Rowe" userId="6208a3e9-fa2e-4d97-85f1-45aab1d5458d" providerId="ADAL" clId="{0346F8CC-5D91-46DD-B956-AF936652C5F2}" dt="2021-09-23T14:15:41.364" v="2292" actId="20577"/>
          <ac:spMkLst>
            <pc:docMk/>
            <pc:sldMk cId="1981300406" sldId="2145705983"/>
            <ac:spMk id="6" creationId="{DA82DD4E-DDB8-49CB-82D1-935E4AADC8F0}"/>
          </ac:spMkLst>
        </pc:spChg>
        <pc:picChg chg="del">
          <ac:chgData name="Cody Rowe" userId="6208a3e9-fa2e-4d97-85f1-45aab1d5458d" providerId="ADAL" clId="{0346F8CC-5D91-46DD-B956-AF936652C5F2}" dt="2021-09-23T14:15:52.919" v="2293" actId="478"/>
          <ac:picMkLst>
            <pc:docMk/>
            <pc:sldMk cId="1981300406" sldId="2145705983"/>
            <ac:picMk id="3" creationId="{1A44CABA-227F-4321-A7A4-61E189AF9F94}"/>
          </ac:picMkLst>
        </pc:picChg>
        <pc:picChg chg="add mod">
          <ac:chgData name="Cody Rowe" userId="6208a3e9-fa2e-4d97-85f1-45aab1d5458d" providerId="ADAL" clId="{0346F8CC-5D91-46DD-B956-AF936652C5F2}" dt="2021-09-23T14:15:55.641" v="2295" actId="1076"/>
          <ac:picMkLst>
            <pc:docMk/>
            <pc:sldMk cId="1981300406" sldId="2145705983"/>
            <ac:picMk id="4" creationId="{7AA75442-D3B0-437D-9906-09BCBB12F42B}"/>
          </ac:picMkLst>
        </pc:picChg>
      </pc:sldChg>
      <pc:sldChg chg="modSp add mod">
        <pc:chgData name="Cody Rowe" userId="6208a3e9-fa2e-4d97-85f1-45aab1d5458d" providerId="ADAL" clId="{0346F8CC-5D91-46DD-B956-AF936652C5F2}" dt="2021-09-23T14:20:21.845" v="2468" actId="20577"/>
        <pc:sldMkLst>
          <pc:docMk/>
          <pc:sldMk cId="3903358426" sldId="2145705984"/>
        </pc:sldMkLst>
        <pc:spChg chg="mod">
          <ac:chgData name="Cody Rowe" userId="6208a3e9-fa2e-4d97-85f1-45aab1d5458d" providerId="ADAL" clId="{0346F8CC-5D91-46DD-B956-AF936652C5F2}" dt="2021-09-23T14:20:21.845" v="2468" actId="20577"/>
          <ac:spMkLst>
            <pc:docMk/>
            <pc:sldMk cId="3903358426" sldId="2145705984"/>
            <ac:spMk id="6" creationId="{DA82DD4E-DDB8-49CB-82D1-935E4AADC8F0}"/>
          </ac:spMkLst>
        </pc:spChg>
      </pc:sldChg>
      <pc:sldChg chg="add del">
        <pc:chgData name="Cody Rowe" userId="6208a3e9-fa2e-4d97-85f1-45aab1d5458d" providerId="ADAL" clId="{0346F8CC-5D91-46DD-B956-AF936652C5F2}" dt="2021-09-23T14:17:17.735" v="2297" actId="47"/>
        <pc:sldMkLst>
          <pc:docMk/>
          <pc:sldMk cId="4217688867" sldId="2145705984"/>
        </pc:sldMkLst>
      </pc:sldChg>
      <pc:sldChg chg="modSp add mod">
        <pc:chgData name="Cody Rowe" userId="6208a3e9-fa2e-4d97-85f1-45aab1d5458d" providerId="ADAL" clId="{0346F8CC-5D91-46DD-B956-AF936652C5F2}" dt="2021-09-23T14:20:41.261" v="2476" actId="20577"/>
        <pc:sldMkLst>
          <pc:docMk/>
          <pc:sldMk cId="579524891" sldId="2145705985"/>
        </pc:sldMkLst>
        <pc:spChg chg="mod">
          <ac:chgData name="Cody Rowe" userId="6208a3e9-fa2e-4d97-85f1-45aab1d5458d" providerId="ADAL" clId="{0346F8CC-5D91-46DD-B956-AF936652C5F2}" dt="2021-09-23T14:20:41.261" v="2476" actId="20577"/>
          <ac:spMkLst>
            <pc:docMk/>
            <pc:sldMk cId="579524891" sldId="2145705985"/>
            <ac:spMk id="6" creationId="{DA82DD4E-DDB8-49CB-82D1-935E4AADC8F0}"/>
          </ac:spMkLst>
        </pc:spChg>
      </pc:sldChg>
      <pc:sldMasterChg chg="delSldLayout">
        <pc:chgData name="Cody Rowe" userId="6208a3e9-fa2e-4d97-85f1-45aab1d5458d" providerId="ADAL" clId="{0346F8CC-5D91-46DD-B956-AF936652C5F2}" dt="2021-09-23T14:06:16.776" v="1985" actId="47"/>
        <pc:sldMasterMkLst>
          <pc:docMk/>
          <pc:sldMasterMk cId="2416730903" sldId="2147485286"/>
        </pc:sldMasterMkLst>
        <pc:sldLayoutChg chg="del">
          <pc:chgData name="Cody Rowe" userId="6208a3e9-fa2e-4d97-85f1-45aab1d5458d" providerId="ADAL" clId="{0346F8CC-5D91-46DD-B956-AF936652C5F2}" dt="2021-09-23T14:06:16.776" v="1985" actId="47"/>
          <pc:sldLayoutMkLst>
            <pc:docMk/>
            <pc:sldMasterMk cId="2416730903" sldId="2147485286"/>
            <pc:sldLayoutMk cId="2858404738" sldId="2147485521"/>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29-Mar-22 12:56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29-Mar-22 12:56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azure/azure-resource-manager/management/azure-subscription-service-limit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algn="l" defTabSz="914400" rtl="0" eaLnBrk="1" latinLnBrk="0" hangingPunct="1"/>
            <a:r>
              <a:rPr lang="en-US" sz="1600" i="1" kern="1200">
                <a:gradFill>
                  <a:gsLst>
                    <a:gs pos="0">
                      <a:schemeClr val="tx1"/>
                    </a:gs>
                    <a:gs pos="100000">
                      <a:schemeClr val="tx1"/>
                    </a:gs>
                  </a:gsLst>
                  <a:lin ang="5400000" scaled="0"/>
                </a:gradFill>
                <a:latin typeface="+mn-lt"/>
                <a:ea typeface="+mn-ea"/>
                <a:cs typeface="Segoe UI Semilight" panose="020B0402040204020203" pitchFamily="34" charset="0"/>
              </a:rPr>
              <a:t>Hello, my name is …, and I’m a “CE/CSA” working on Azure in our Customer Success organization.</a:t>
            </a:r>
          </a:p>
          <a:p>
            <a:pPr marL="0" lvl="0" algn="l" defTabSz="914400" rtl="0" eaLnBrk="1" latinLnBrk="0" hangingPunct="1"/>
            <a:endParaRPr lang="en-US" sz="1600" i="1" kern="1200">
              <a:gradFill>
                <a:gsLst>
                  <a:gs pos="0">
                    <a:schemeClr val="tx1"/>
                  </a:gs>
                  <a:gs pos="100000">
                    <a:schemeClr val="tx1"/>
                  </a:gs>
                </a:gsLst>
                <a:lin ang="5400000" scaled="0"/>
              </a:gradFill>
              <a:latin typeface="+mn-lt"/>
              <a:ea typeface="+mn-ea"/>
              <a:cs typeface="Segoe UI Semilight" panose="020B0402040204020203" pitchFamily="34" charset="0"/>
            </a:endParaRPr>
          </a:p>
          <a:p>
            <a:pPr marL="0" lvl="0" algn="l" defTabSz="914400" rtl="0" eaLnBrk="1" latinLnBrk="0" hangingPunct="1"/>
            <a:r>
              <a:rPr lang="en-US" sz="1600" i="1" kern="1200">
                <a:gradFill>
                  <a:gsLst>
                    <a:gs pos="0">
                      <a:schemeClr val="tx1"/>
                    </a:gs>
                    <a:gs pos="100000">
                      <a:schemeClr val="tx1"/>
                    </a:gs>
                  </a:gsLst>
                  <a:lin ang="5400000" scaled="0"/>
                </a:gradFill>
                <a:latin typeface="+mn-lt"/>
                <a:ea typeface="+mn-ea"/>
                <a:cs typeface="Segoe UI Semilight" panose="020B0402040204020203" pitchFamily="34" charset="0"/>
              </a:rPr>
              <a:t>This is a 200/300 level presentation meant to give you enough information where you can make informed decisions, and understand how these components work.</a:t>
            </a:r>
          </a:p>
          <a:p>
            <a:endParaRPr lang="en-US" sz="1600" i="1" spc="0">
              <a:gradFill>
                <a:gsLst>
                  <a:gs pos="0">
                    <a:schemeClr val="tx1"/>
                  </a:gs>
                  <a:gs pos="100000">
                    <a:schemeClr val="tx1"/>
                  </a:gs>
                </a:gsLst>
                <a:lin ang="5400000" scaled="0"/>
              </a:gradFill>
              <a:latin typeface="+mn-lt"/>
              <a:cs typeface="Segoe UI Semilight" panose="020B0402040204020203" pitchFamily="34" charset="0"/>
            </a:endParaRPr>
          </a:p>
          <a:p>
            <a:r>
              <a:rPr lang="en-US" sz="1600" i="1" spc="0">
                <a:gradFill>
                  <a:gsLst>
                    <a:gs pos="0">
                      <a:schemeClr val="tx1"/>
                    </a:gs>
                    <a:gs pos="100000">
                      <a:schemeClr val="tx1"/>
                    </a:gs>
                  </a:gsLst>
                  <a:lin ang="5400000" scaled="0"/>
                </a:gradFill>
                <a:latin typeface="+mn-lt"/>
                <a:cs typeface="Segoe UI Semilight" panose="020B0402040204020203" pitchFamily="34" charset="0"/>
              </a:rPr>
              <a:t>Feel free to ask questions as we go.</a:t>
            </a:r>
          </a:p>
          <a:p>
            <a:endParaRPr lang="en-US" sz="1600" i="1" spc="0">
              <a:gradFill>
                <a:gsLst>
                  <a:gs pos="0">
                    <a:schemeClr val="tx1"/>
                  </a:gs>
                  <a:gs pos="100000">
                    <a:schemeClr val="tx1"/>
                  </a:gs>
                </a:gsLst>
                <a:lin ang="5400000" scaled="0"/>
              </a:gradFill>
              <a:latin typeface="+mn-lt"/>
              <a:cs typeface="Segoe UI Semilight" panose="020B0402040204020203" pitchFamily="34" charset="0"/>
            </a:endParaRPr>
          </a:p>
          <a:p>
            <a:r>
              <a:rPr lang="en-US" sz="1600" i="1" spc="0">
                <a:gradFill>
                  <a:gsLst>
                    <a:gs pos="0">
                      <a:schemeClr val="tx1"/>
                    </a:gs>
                    <a:gs pos="100000">
                      <a:schemeClr val="tx1"/>
                    </a:gs>
                  </a:gsLst>
                  <a:lin ang="5400000" scaled="0"/>
                </a:gradFill>
                <a:latin typeface="+mn-lt"/>
                <a:cs typeface="Segoe UI Semilight" panose="020B0402040204020203" pitchFamily="34" charset="0"/>
              </a:rPr>
              <a:t>So, with that, let’s dive in.</a:t>
            </a:r>
          </a:p>
        </p:txBody>
      </p:sp>
      <p:sp>
        <p:nvSpPr>
          <p:cNvPr id="4" name="Header Placeholder 3"/>
          <p:cNvSpPr>
            <a:spLocks noGrp="1"/>
          </p:cNvSpPr>
          <p:nvPr>
            <p:ph type="hdr" sz="quarter" idx="10"/>
          </p:nvPr>
        </p:nvSpPr>
        <p:spPr/>
        <p:txBody>
          <a:bodyPr/>
          <a:lstStyle/>
          <a:p>
            <a:pPr marL="0" marR="0" lvl="0" indent="0" algn="l" defTabSz="931684"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24" marR="0" lvl="0" indent="0" algn="l" defTabSz="2732401" rtl="0" eaLnBrk="0" fontAlgn="auto" latinLnBrk="0" hangingPunct="0">
              <a:lnSpc>
                <a:spcPct val="100000"/>
              </a:lnSpc>
              <a:spcBef>
                <a:spcPts val="0"/>
              </a:spcBef>
              <a:spcAft>
                <a:spcPts val="0"/>
              </a:spcAft>
              <a:buClrTx/>
              <a:buSzTx/>
              <a:buFontTx/>
              <a:buNone/>
              <a:tabLst/>
              <a:defRPr/>
            </a:pPr>
            <a:r>
              <a:rPr kumimoji="0" lang="en-US" sz="13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684" rtl="0" eaLnBrk="1" fontAlgn="auto" latinLnBrk="0" hangingPunct="1">
              <a:lnSpc>
                <a:spcPct val="100000"/>
              </a:lnSpc>
              <a:spcBef>
                <a:spcPts val="0"/>
              </a:spcBef>
              <a:spcAft>
                <a:spcPts val="0"/>
              </a:spcAft>
              <a:buClrTx/>
              <a:buSzTx/>
              <a:buFontTx/>
              <a:buNone/>
              <a:tabLst/>
              <a:defRPr/>
            </a:pPr>
            <a:fld id="{62072DC8-D49D-432C-9D46-A7718B5F5490}"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684" rtl="0" eaLnBrk="1" fontAlgn="auto" latinLnBrk="0" hangingPunct="1">
                <a:lnSpc>
                  <a:spcPct val="100000"/>
                </a:lnSpc>
                <a:spcBef>
                  <a:spcPts val="0"/>
                </a:spcBef>
                <a:spcAft>
                  <a:spcPts val="0"/>
                </a:spcAft>
                <a:buClrTx/>
                <a:buSzTx/>
                <a:buFontTx/>
                <a:buNone/>
                <a:tabLst/>
                <a:defRPr/>
              </a:pPr>
              <a:t>29-Mar-22 12:56 P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6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684" rtl="0" eaLnBrk="1" fontAlgn="auto" latinLnBrk="0" hangingPunct="1">
                <a:lnSpc>
                  <a:spcPct val="100000"/>
                </a:lnSpc>
                <a:spcBef>
                  <a:spcPts val="0"/>
                </a:spcBef>
                <a:spcAft>
                  <a:spcPts val="0"/>
                </a:spcAft>
                <a:buClrTx/>
                <a:buSzTx/>
                <a:buFontTx/>
                <a:buNone/>
                <a:tabLst/>
                <a:defRPr/>
              </a:pPr>
              <a:t>1</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672826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9-Mar-22 12:5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39324282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US" b="0" i="0">
                <a:solidFill>
                  <a:srgbClr val="E6E6E6"/>
                </a:solidFill>
                <a:effectLst/>
                <a:latin typeface="Segoe UI" panose="020B0502040204020203" pitchFamily="34" charset="0"/>
              </a:rPr>
              <a:t>Management groups are a way to group subscriptions to simplify management of your Azure environment.</a:t>
            </a:r>
          </a:p>
          <a:p>
            <a:pPr algn="l">
              <a:buFont typeface="Arial" panose="020B0604020202020204" pitchFamily="34" charset="0"/>
              <a:buNone/>
            </a:pPr>
            <a:endParaRPr lang="en-US" b="0" i="0">
              <a:solidFill>
                <a:srgbClr val="E6E6E6"/>
              </a:solidFill>
              <a:effectLst/>
              <a:latin typeface="Segoe UI" panose="020B0502040204020203" pitchFamily="34" charset="0"/>
            </a:endParaRPr>
          </a:p>
          <a:p>
            <a:pPr algn="l">
              <a:buFont typeface="Arial" panose="020B0604020202020204" pitchFamily="34" charset="0"/>
              <a:buNone/>
            </a:pPr>
            <a:r>
              <a:rPr lang="en-US" b="0" i="0">
                <a:solidFill>
                  <a:srgbClr val="E6E6E6"/>
                </a:solidFill>
                <a:effectLst/>
                <a:latin typeface="Segoe UI" panose="020B0502040204020203" pitchFamily="34" charset="0"/>
              </a:rPr>
              <a:t>One of the biggest benefits of management groups is the ability to scope Azure Policy and RBAC to the management group and have that policy and Azure IAM assignment trickle down to all subscriptions moved into the management group hierarchy. Using management groups in this way allows you to treat subscriptions as units of scale, and management groups as a way to organize resources based on a variety of criteria.</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Mar-22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079658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9-Mar-22 12:5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3074451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9-Mar-22 12:5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30201806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spc="-50">
              <a:ln w="3175">
                <a:noFill/>
              </a:ln>
              <a:solidFill>
                <a:schemeClr val="tx1"/>
              </a:solidFill>
              <a:latin typeface="+mj-lt"/>
              <a:cs typeface="Segoe UI"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Mar-22 12:5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38139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main idea behind enterprise scale is to separate “landing zones” (application workloads) from “platform” (internal management of Azure) into a separate structure. </a:t>
            </a:r>
          </a:p>
          <a:p>
            <a:endParaRPr lang="en-US"/>
          </a:p>
          <a:p>
            <a:r>
              <a:rPr lang="en-US"/>
              <a:t>This approach has many benefits including a simplified RBAC model and an easy way to view platform cost vs workload cos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9-Mar-22 12:5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012602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eep the management group hierarchy reasonably flat, with no more than three to four levels ideally. This restriction reduces management overhead and complexity.</a:t>
            </a:r>
          </a:p>
          <a:p>
            <a:endParaRPr lang="en-US"/>
          </a:p>
          <a:p>
            <a:r>
              <a:rPr lang="en-US"/>
              <a:t>Avoid duplicating your organizational structure into a deeply nested management group hierarchy. Management groups should be used for policy assignment versus billing purposes. This approach necessitates using management groups for their intended purpose in enterprise-scale architecture, which is providing Azure policies for workloads that require the same type of security and compliance under the same management group level.</a:t>
            </a:r>
          </a:p>
          <a:p>
            <a:endParaRPr lang="en-US"/>
          </a:p>
          <a:p>
            <a:r>
              <a:rPr lang="en-US"/>
              <a:t>Create management groups under your root-level management group to represent the types of workloads (archetypes) that you'll host and ones based on their security, compliance, connectivity, and feature needs. This grouping structure allows you to have a set of Azure policies applied at the management group level for all workloads that require the same security, compliance, connectivity, and feature settings.</a:t>
            </a:r>
          </a:p>
          <a:p>
            <a:endParaRPr lang="en-US"/>
          </a:p>
          <a:p>
            <a:r>
              <a:rPr lang="en-US"/>
              <a:t>Use resource tags, which can be enforced or appended through Azure Policy, to query and horizontally navigate across the management group hierarchy. Then you can group resources for search needs without having to use a complex management group hierarchy.</a:t>
            </a:r>
          </a:p>
          <a:p>
            <a:endParaRPr lang="en-US"/>
          </a:p>
          <a:p>
            <a:r>
              <a:rPr lang="en-US"/>
              <a:t>Create a top-level sandbox management group to allow users to immediately experiment with Azure. Users can then experiment with resources that might not yet be allowed in production environments. The sandbox provides isolation from your development, test, and production environments.</a:t>
            </a:r>
          </a:p>
          <a:p>
            <a:endParaRPr lang="en-US"/>
          </a:p>
          <a:p>
            <a:r>
              <a:rPr lang="en-US"/>
              <a:t>Use a dedicated service principal name (SPN) to execute management group management operations, subscription management operations, and role assignment. Using an SPN reduces the number of users who have elevated rights and follows least-privilege guidelines.</a:t>
            </a:r>
          </a:p>
          <a:p>
            <a:endParaRPr lang="en-US"/>
          </a:p>
          <a:p>
            <a:r>
              <a:rPr lang="en-US"/>
              <a:t>Assign the User Access Administrator role at the root management group scope (/) to grant the SPN just mentioned access at the root level. After the SPN is granted permissions, the User Access Administrator role can be safely removed. In this way, only the SPN is part of the User Access Administrator role.</a:t>
            </a:r>
          </a:p>
          <a:p>
            <a:endParaRPr lang="en-US"/>
          </a:p>
          <a:p>
            <a:r>
              <a:rPr lang="en-US"/>
              <a:t>Assign the Contributor role to the SPN previously mentioned at the root management group scope (/), which allows tenant-level operations. This permission level ensures that the SPN can be used to deploy and manage resources to any subscription within your organization.</a:t>
            </a:r>
          </a:p>
          <a:p>
            <a:endParaRPr lang="en-US"/>
          </a:p>
          <a:p>
            <a:r>
              <a:rPr lang="en-US"/>
              <a:t>Create a Platform management group under the root management group to support common platform policy and Azure role assignment. This grouping structure ensures that different policies can be applied to the subscriptions used for your Azure foundation. It also ensures that the billing for common resources is centralized in one set of foundational subscriptions.</a:t>
            </a:r>
          </a:p>
          <a:p>
            <a:endParaRPr lang="en-US"/>
          </a:p>
          <a:p>
            <a:r>
              <a:rPr lang="en-US"/>
              <a:t>Limit the number of Azure Policy assignments made at the root management group scope (/). This limitation minimizes debugging inherited policies in lower-level management groups.</a:t>
            </a:r>
          </a:p>
          <a:p>
            <a:endParaRPr lang="en-US"/>
          </a:p>
          <a:p>
            <a:r>
              <a:rPr lang="en-US"/>
              <a:t>Use the policies available for enterprise-scale landing zones to enforce compliance requirements either at management group or subscription scope. Refer to guidance in the Policy-driven governance section to learn more about the governance requirements that can be addressed.</a:t>
            </a:r>
          </a:p>
          <a:p>
            <a:endParaRPr lang="en-US"/>
          </a:p>
          <a:p>
            <a:r>
              <a:rPr lang="en-US"/>
              <a:t>Ensure that only privileged users can operate management groups in the tenant by enabling Azure RBAC authorization in the management group hierarchy settings (by default, all users are authorized to create their own management groups under the root management group).</a:t>
            </a:r>
          </a:p>
          <a:p>
            <a:endParaRPr lang="en-US"/>
          </a:p>
          <a:p>
            <a:r>
              <a:rPr lang="en-US"/>
              <a:t>Configure a default, dedicated management group for new subscriptions to ensure that no subscriptions are placed under the root management group. This is especially important if there are users eligible for MSDN or Visual Studio benefits and subscriptions. A good candidate for this type of management group is a Sandbox management group.</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9-Mar-22 12:5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4066181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spc="-50">
              <a:ln w="3175">
                <a:noFill/>
              </a:ln>
              <a:solidFill>
                <a:schemeClr val="tx1"/>
              </a:solidFill>
              <a:latin typeface="+mj-lt"/>
              <a:cs typeface="Segoe UI"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Mar-22 12:5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38139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spc="-50">
              <a:ln w="3175">
                <a:noFill/>
              </a:ln>
              <a:solidFill>
                <a:schemeClr val="tx1"/>
              </a:solidFill>
              <a:latin typeface="+mj-lt"/>
              <a:cs typeface="Segoe UI"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Mar-22 12:5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38139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Azure subscription limits and quotas - Azure Resource Manager | Microsoft Docs</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9-Mar-22 12:5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396751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spc="-50">
                <a:ln w="3175">
                  <a:noFill/>
                </a:ln>
                <a:solidFill>
                  <a:schemeClr val="tx1"/>
                </a:solidFill>
                <a:latin typeface="+mj-lt"/>
                <a:cs typeface="Segoe UI" pitchFamily="34" charset="0"/>
              </a:rPr>
              <a:t>This is the agenda for Management Group and Subscription Organization in Azure. We will cover all of these items at a high level, and when we are done you should have a better understanding of how to manage and assign access to your Azure environment.</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Mar-22 12:5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685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spc="-50">
              <a:ln w="3175">
                <a:noFill/>
              </a:ln>
              <a:solidFill>
                <a:schemeClr val="tx1"/>
              </a:solidFill>
              <a:latin typeface="+mj-lt"/>
              <a:cs typeface="Segoe UI"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Mar-22 12:5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38139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0" i="0">
                <a:solidFill>
                  <a:srgbClr val="E6E6E6"/>
                </a:solidFill>
                <a:effectLst/>
                <a:latin typeface="Segoe UI" panose="020B0502040204020203" pitchFamily="34" charset="0"/>
              </a:rPr>
              <a:t>A landing zone is an environment for hosting your workloads, </a:t>
            </a:r>
            <a:r>
              <a:rPr lang="en-US" b="0" i="0" err="1">
                <a:solidFill>
                  <a:srgbClr val="E6E6E6"/>
                </a:solidFill>
                <a:effectLst/>
                <a:latin typeface="Segoe UI" panose="020B0502040204020203" pitchFamily="34" charset="0"/>
              </a:rPr>
              <a:t>preprovisioned</a:t>
            </a:r>
            <a:r>
              <a:rPr lang="en-US" b="0" i="0">
                <a:solidFill>
                  <a:srgbClr val="E6E6E6"/>
                </a:solidFill>
                <a:effectLst/>
                <a:latin typeface="Segoe UI" panose="020B0502040204020203" pitchFamily="34" charset="0"/>
              </a:rPr>
              <a:t> through code. Watch the following video to learn more.</a:t>
            </a:r>
            <a:endParaRPr lang="en-US" b="1" i="0">
              <a:solidFill>
                <a:srgbClr val="E6E6E6"/>
              </a:solidFill>
              <a:effectLst/>
              <a:latin typeface="Segoe UI" panose="020B0502040204020203" pitchFamily="34" charset="0"/>
            </a:endParaRPr>
          </a:p>
          <a:p>
            <a:pPr algn="l">
              <a:buFont typeface="Arial" panose="020B0604020202020204" pitchFamily="34" charset="0"/>
              <a:buChar char="•"/>
            </a:pPr>
            <a:r>
              <a:rPr lang="en-US" b="1" i="0">
                <a:solidFill>
                  <a:srgbClr val="E6E6E6"/>
                </a:solidFill>
                <a:effectLst/>
                <a:latin typeface="Segoe UI" panose="020B0502040204020203" pitchFamily="34" charset="0"/>
              </a:rPr>
              <a:t>Scalable:</a:t>
            </a:r>
            <a:r>
              <a:rPr lang="en-US" b="0" i="0">
                <a:solidFill>
                  <a:srgbClr val="E6E6E6"/>
                </a:solidFill>
                <a:effectLst/>
                <a:latin typeface="Segoe UI" panose="020B0502040204020203" pitchFamily="34" charset="0"/>
              </a:rPr>
              <a:t> All Azure landing zones support cloud adoption at scale by providing repeatable environments, with consistent configuration and controls, regardless of the workloads or Azure resources deployed to each landing zone instance.</a:t>
            </a:r>
          </a:p>
          <a:p>
            <a:pPr algn="l">
              <a:buFont typeface="Arial" panose="020B0604020202020204" pitchFamily="34" charset="0"/>
              <a:buChar char="•"/>
            </a:pPr>
            <a:r>
              <a:rPr lang="en-US" b="1" i="0">
                <a:solidFill>
                  <a:srgbClr val="E6E6E6"/>
                </a:solidFill>
                <a:effectLst/>
                <a:latin typeface="Segoe UI" panose="020B0502040204020203" pitchFamily="34" charset="0"/>
              </a:rPr>
              <a:t>Modular:</a:t>
            </a:r>
            <a:r>
              <a:rPr lang="en-US" b="0" i="0">
                <a:solidFill>
                  <a:srgbClr val="E6E6E6"/>
                </a:solidFill>
                <a:effectLst/>
                <a:latin typeface="Segoe UI" panose="020B0502040204020203" pitchFamily="34" charset="0"/>
              </a:rPr>
              <a:t> All Azure landing zones provide a modular approach to building out your environment, based on a common set of design areas. Each design area can be easily extended to support the distinct needs of various technology platforms like Azure SQL Database, Azure Kubernetes Service, and Azure Virtual Desktop.</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9-Mar-22 12:5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6981703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9-Mar-22 12:5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18544145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9-Mar-22 12:5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1058144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9-Mar-22 12:5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11058144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9-Mar-22 12:5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9202404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3702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spc="-50">
              <a:ln w="3175">
                <a:noFill/>
              </a:ln>
              <a:solidFill>
                <a:schemeClr val="tx1"/>
              </a:solidFill>
              <a:latin typeface="+mj-lt"/>
              <a:cs typeface="Segoe UI"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Mar-22 12:5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38139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Enterprise-scale</a:t>
            </a:r>
            <a:r>
              <a:rPr lang="en-US"/>
              <a:t> is an </a:t>
            </a:r>
            <a:r>
              <a:rPr lang="en-US" b="1">
                <a:solidFill>
                  <a:schemeClr val="accent1"/>
                </a:solidFill>
              </a:rPr>
              <a:t>architecture approach and</a:t>
            </a:r>
            <a:r>
              <a:rPr lang="en-US">
                <a:solidFill>
                  <a:schemeClr val="accent1"/>
                </a:solidFill>
              </a:rPr>
              <a:t> </a:t>
            </a:r>
            <a:r>
              <a:rPr lang="en-US" b="1">
                <a:solidFill>
                  <a:schemeClr val="accent1"/>
                </a:solidFill>
              </a:rPr>
              <a:t>reference implementation</a:t>
            </a:r>
            <a:r>
              <a:rPr lang="en-US">
                <a:solidFill>
                  <a:schemeClr val="accent1"/>
                </a:solidFill>
              </a:rPr>
              <a:t> </a:t>
            </a:r>
            <a:r>
              <a:rPr lang="en-US"/>
              <a:t>that enables effective </a:t>
            </a:r>
            <a:r>
              <a:rPr lang="en-US" b="1">
                <a:solidFill>
                  <a:schemeClr val="accent1"/>
                </a:solidFill>
              </a:rPr>
              <a:t>construction</a:t>
            </a:r>
            <a:r>
              <a:rPr lang="en-US"/>
              <a:t> and </a:t>
            </a:r>
            <a:r>
              <a:rPr lang="en-US" b="1">
                <a:solidFill>
                  <a:schemeClr val="accent1"/>
                </a:solidFill>
              </a:rPr>
              <a:t>operationalization</a:t>
            </a:r>
            <a:r>
              <a:rPr lang="en-US"/>
              <a:t> of landing zones on Azure, at scale and </a:t>
            </a:r>
            <a:r>
              <a:rPr lang="en-US" b="1">
                <a:solidFill>
                  <a:schemeClr val="accent1"/>
                </a:solidFill>
              </a:rPr>
              <a:t>aligned</a:t>
            </a:r>
            <a:r>
              <a:rPr lang="en-US"/>
              <a:t> with </a:t>
            </a:r>
            <a:r>
              <a:rPr lang="en-US" b="1">
                <a:solidFill>
                  <a:schemeClr val="accent1"/>
                </a:solidFill>
              </a:rPr>
              <a:t>Azure Roadmap </a:t>
            </a:r>
            <a:r>
              <a:rPr lang="en-US"/>
              <a:t>and </a:t>
            </a:r>
            <a:r>
              <a:rPr lang="en-US" b="1">
                <a:solidFill>
                  <a:schemeClr val="accent1"/>
                </a:solidFill>
              </a:rPr>
              <a:t>Microsoft</a:t>
            </a:r>
            <a:r>
              <a:rPr lang="en-US"/>
              <a:t> </a:t>
            </a:r>
            <a:r>
              <a:rPr lang="en-US" b="1">
                <a:solidFill>
                  <a:schemeClr val="accent1"/>
                </a:solidFill>
              </a:rPr>
              <a:t>Cloud Adoption Framework for Azure</a:t>
            </a:r>
            <a:r>
              <a:rPr lang="en-US"/>
              <a:t>.</a:t>
            </a:r>
            <a:endParaRPr lang="en-US" sz="1600"/>
          </a:p>
          <a:p>
            <a:endParaRPr lang="en-GB"/>
          </a:p>
          <a:p>
            <a:r>
              <a:rPr lang="en-GB"/>
              <a:t>In this design workshop we review each design guidelines and what decisions need to be documented for the of the Azure Enterprise-scale landing zone implementation.</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Mar-22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54255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14600" y="857250"/>
            <a:ext cx="4114800" cy="2314575"/>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When we talk about building out your Azure environment, we want to take a similar approach by separating platform management from workload (landing zone) management</a:t>
            </a: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365874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9-Mar-22 12:5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17090215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they don’t have separate identity then from the platform perspective – it is just production in test.</a:t>
            </a:r>
          </a:p>
          <a:p>
            <a:endParaRPr lang="en-GB" dirty="0"/>
          </a:p>
          <a:p>
            <a:r>
              <a:rPr lang="en-GB" dirty="0"/>
              <a:t>Examples:</a:t>
            </a:r>
          </a:p>
          <a:p>
            <a:r>
              <a:rPr lang="en-GB" dirty="0">
                <a:latin typeface="+mn-lt"/>
              </a:rPr>
              <a:t>Department isn’t Org chart. Create Departments only if business domains have independent IT capabilities and map customer business divisions.</a:t>
            </a:r>
          </a:p>
          <a:p>
            <a:r>
              <a:rPr lang="en-GB" dirty="0">
                <a:latin typeface="+mn-lt"/>
              </a:rPr>
              <a:t>If multiple AAD tenants are used, ensure the Account owner is associated with the same tenant as where subscriptions from the EA account are provisioned. Separate Dev/Test/Prod environments at an EA account level to support holistic isolation.</a:t>
            </a:r>
          </a:p>
          <a:p>
            <a:pPr marL="514252" indent="-514252">
              <a:buFont typeface="+mj-lt"/>
              <a:buAutoNum type="arabicPeriod"/>
            </a:pPr>
            <a:r>
              <a:rPr lang="en-GB" dirty="0">
                <a:latin typeface="+mn-lt"/>
              </a:rPr>
              <a:t>Do not move or rename an EA Account in AD/Azure AD</a:t>
            </a:r>
          </a:p>
          <a:p>
            <a:pPr marL="514252" indent="-514252">
              <a:buFont typeface="+mj-lt"/>
              <a:buAutoNum type="arabicPeriod"/>
            </a:pPr>
            <a:r>
              <a:rPr lang="en-GB" dirty="0">
                <a:latin typeface="+mn-lt"/>
              </a:rPr>
              <a:t>Do not ignore notification emails sent to the notification account email address. Microsoft sends important EA wide communications to this account. Setup the notification account email address to ensure notifications are sent to an appropriate group mailbox.</a:t>
            </a:r>
          </a:p>
          <a:p>
            <a:pPr marL="514252" indent="-514252">
              <a:buFont typeface="+mj-lt"/>
              <a:buAutoNum type="arabicPeriod"/>
            </a:pPr>
            <a:r>
              <a:rPr lang="en-GB" dirty="0">
                <a:latin typeface="+mn-lt"/>
              </a:rPr>
              <a:t>Assign a budget for each account and establish an alert associated with the budget.</a:t>
            </a:r>
          </a:p>
          <a:p>
            <a:pPr marL="514252" indent="-514252">
              <a:buFont typeface="+mj-lt"/>
              <a:buAutoNum type="arabicPeriod"/>
            </a:pPr>
            <a:r>
              <a:rPr lang="en-GB" dirty="0">
                <a:latin typeface="+mn-lt"/>
              </a:rPr>
              <a:t>Restrict and minimise the number of Account owners within the Enrolment to avoid the proliferation of admin access to Subscriptions and associated Azure resources</a:t>
            </a:r>
          </a:p>
          <a:p>
            <a:endParaRPr lang="en-GB"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Mar-22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208511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spc="-50">
              <a:ln w="3175">
                <a:noFill/>
              </a:ln>
              <a:solidFill>
                <a:schemeClr val="tx1"/>
              </a:solidFill>
              <a:latin typeface="+mj-lt"/>
              <a:cs typeface="Segoe UI"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Mar-22 12:56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82422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9-Mar-22 12:56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30163714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7.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5737486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5003242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25407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346683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50561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636267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6639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73602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080614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312618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0072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39064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05197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83067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82639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518299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642520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20505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225915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46344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661977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171575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12956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0394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565111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14352990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8922448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70946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29-Mar-22</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39574301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29-Mar-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19215999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35126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5820"/>
            <a:ext cx="3183637" cy="543185"/>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139813167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7" y="2425542"/>
            <a:ext cx="4167886"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1"/>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4" y="585789"/>
            <a:ext cx="1366245" cy="292608"/>
          </a:xfrm>
          <a:prstGeom prst="rect">
            <a:avLst/>
          </a:prstGeom>
        </p:spPr>
      </p:pic>
      <p:pic>
        <p:nvPicPr>
          <p:cNvPr id="7" name="Picture 6">
            <a:extLst>
              <a:ext uri="{FF2B5EF4-FFF2-40B4-BE49-F238E27FC236}">
                <a16:creationId xmlns:a16="http://schemas.microsoft.com/office/drawing/2014/main" id="{CB416E83-2BF2-4A74-8492-6C75F7B6CB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3" y="0"/>
            <a:ext cx="6858000" cy="6858000"/>
          </a:xfrm>
          <a:prstGeom prst="rect">
            <a:avLst/>
          </a:prstGeom>
        </p:spPr>
      </p:pic>
    </p:spTree>
    <p:extLst>
      <p:ext uri="{BB962C8B-B14F-4D97-AF65-F5344CB8AC3E}">
        <p14:creationId xmlns:p14="http://schemas.microsoft.com/office/powerpoint/2010/main" val="2664161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100151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7" y="2425542"/>
            <a:ext cx="4167886"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1"/>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4" y="585789"/>
            <a:ext cx="1366245" cy="292608"/>
          </a:xfrm>
          <a:prstGeom prst="rect">
            <a:avLst/>
          </a:prstGeom>
        </p:spPr>
      </p:pic>
      <p:pic>
        <p:nvPicPr>
          <p:cNvPr id="8" name="Picture 7">
            <a:extLst>
              <a:ext uri="{FF2B5EF4-FFF2-40B4-BE49-F238E27FC236}">
                <a16:creationId xmlns:a16="http://schemas.microsoft.com/office/drawing/2014/main" id="{45088973-88F5-4C76-80ED-89ED1A70DC0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3" y="0"/>
            <a:ext cx="6858000" cy="6858000"/>
          </a:xfrm>
          <a:prstGeom prst="rect">
            <a:avLst/>
          </a:prstGeom>
        </p:spPr>
      </p:pic>
    </p:spTree>
    <p:extLst>
      <p:ext uri="{BB962C8B-B14F-4D97-AF65-F5344CB8AC3E}">
        <p14:creationId xmlns:p14="http://schemas.microsoft.com/office/powerpoint/2010/main" val="2240815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4" y="585789"/>
            <a:ext cx="1366245" cy="292608"/>
          </a:xfrm>
          <a:prstGeom prst="rect">
            <a:avLst/>
          </a:prstGeom>
        </p:spPr>
      </p:pic>
    </p:spTree>
    <p:extLst>
      <p:ext uri="{BB962C8B-B14F-4D97-AF65-F5344CB8AC3E}">
        <p14:creationId xmlns:p14="http://schemas.microsoft.com/office/powerpoint/2010/main" val="37425953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4" y="585789"/>
            <a:ext cx="1366245" cy="292608"/>
          </a:xfrm>
          <a:prstGeom prst="rect">
            <a:avLst/>
          </a:prstGeom>
        </p:spPr>
      </p:pic>
    </p:spTree>
    <p:extLst>
      <p:ext uri="{BB962C8B-B14F-4D97-AF65-F5344CB8AC3E}">
        <p14:creationId xmlns:p14="http://schemas.microsoft.com/office/powerpoint/2010/main" val="262094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69"/>
            <a:ext cx="11018521" cy="1612768"/>
          </a:xfrm>
        </p:spPr>
        <p:txBody>
          <a:bodyPr wrap="square">
            <a:spAutoFit/>
          </a:bodyPr>
          <a:lstStyle>
            <a:lvl1pPr marL="0" indent="0">
              <a:buNone/>
              <a:defRPr/>
            </a:lvl1pPr>
            <a:lvl2pPr marL="228551" indent="0">
              <a:buNone/>
              <a:defRPr/>
            </a:lvl2pPr>
            <a:lvl3pPr marL="457100" indent="0">
              <a:buNone/>
              <a:defRPr/>
            </a:lvl3pPr>
            <a:lvl4pPr marL="685651" indent="0">
              <a:buNone/>
              <a:defRPr/>
            </a:lvl4pPr>
            <a:lvl5pPr marL="91420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27146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2" y="1435101"/>
            <a:ext cx="11018839"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967212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2" y="1435101"/>
            <a:ext cx="5212080" cy="1612749"/>
          </a:xfrm>
        </p:spPr>
        <p:txBody>
          <a:bodyPr wrap="square">
            <a:spAutoFit/>
          </a:bodyPr>
          <a:lstStyle>
            <a:lvl1pPr marL="0" indent="0">
              <a:spcBef>
                <a:spcPts val="1223"/>
              </a:spcBef>
              <a:buClr>
                <a:schemeClr val="tx1"/>
              </a:buClr>
              <a:buFont typeface="Wingdings" panose="05000000000000000000" pitchFamily="2" charset="2"/>
              <a:buNone/>
              <a:defRPr sz="2800" b="0">
                <a:latin typeface="+mn-lt"/>
                <a:cs typeface="Segoe UI" panose="020B0502040204020203" pitchFamily="34" charset="0"/>
              </a:defRPr>
            </a:lvl1pPr>
            <a:lvl2pPr marL="255533" indent="0">
              <a:buFont typeface="Wingdings" panose="05000000000000000000" pitchFamily="2" charset="2"/>
              <a:buNone/>
              <a:defRPr sz="2000" b="0">
                <a:latin typeface="+mn-lt"/>
              </a:defRPr>
            </a:lvl2pPr>
            <a:lvl3pPr marL="450753" indent="0">
              <a:buFont typeface="Wingdings" panose="05000000000000000000" pitchFamily="2" charset="2"/>
              <a:buNone/>
              <a:tabLst/>
              <a:defRPr sz="1600" b="0">
                <a:latin typeface="+mn-lt"/>
              </a:defRPr>
            </a:lvl3pPr>
            <a:lvl4pPr marL="652321" indent="0">
              <a:buFont typeface="Wingdings" panose="05000000000000000000" pitchFamily="2" charset="2"/>
              <a:buNone/>
              <a:defRPr sz="1400" b="0">
                <a:latin typeface="+mn-lt"/>
              </a:defRPr>
            </a:lvl4pPr>
            <a:lvl5pPr marL="853890"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1"/>
            <a:ext cx="5212080" cy="1612749"/>
          </a:xfrm>
        </p:spPr>
        <p:txBody>
          <a:bodyPr wrap="square">
            <a:spAutoFit/>
          </a:bodyPr>
          <a:lstStyle>
            <a:lvl1pPr marL="0" indent="0">
              <a:spcBef>
                <a:spcPts val="1223"/>
              </a:spcBef>
              <a:buClr>
                <a:schemeClr val="tx1"/>
              </a:buClr>
              <a:buFont typeface="Wingdings" panose="05000000000000000000" pitchFamily="2" charset="2"/>
              <a:buNone/>
              <a:defRPr sz="2800" b="0">
                <a:latin typeface="+mn-lt"/>
                <a:cs typeface="Segoe UI" panose="020B0502040204020203" pitchFamily="34" charset="0"/>
              </a:defRPr>
            </a:lvl1pPr>
            <a:lvl2pPr marL="255533" indent="0">
              <a:buFont typeface="Wingdings" panose="05000000000000000000" pitchFamily="2" charset="2"/>
              <a:buNone/>
              <a:defRPr sz="2000" b="0">
                <a:latin typeface="+mn-lt"/>
              </a:defRPr>
            </a:lvl2pPr>
            <a:lvl3pPr marL="450753" indent="0">
              <a:buFont typeface="Wingdings" panose="05000000000000000000" pitchFamily="2" charset="2"/>
              <a:buNone/>
              <a:tabLst/>
              <a:defRPr sz="1600" b="0">
                <a:latin typeface="+mn-lt"/>
              </a:defRPr>
            </a:lvl3pPr>
            <a:lvl4pPr marL="652321" indent="0">
              <a:buFont typeface="Wingdings" panose="05000000000000000000" pitchFamily="2" charset="2"/>
              <a:buNone/>
              <a:defRPr sz="1400" b="0">
                <a:latin typeface="+mn-lt"/>
              </a:defRPr>
            </a:lvl4pPr>
            <a:lvl5pPr marL="853890"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93826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2" y="1435101"/>
            <a:ext cx="5211764"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90" y="1435101"/>
            <a:ext cx="521970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71821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1" cy="553998"/>
          </a:xfrm>
        </p:spPr>
        <p:txBody>
          <a:bodyPr/>
          <a:lstStyle/>
          <a:p>
            <a:r>
              <a:rPr lang="en-US"/>
              <a:t>Click to edit Master title style</a:t>
            </a:r>
          </a:p>
        </p:txBody>
      </p:sp>
    </p:spTree>
    <p:extLst>
      <p:ext uri="{BB962C8B-B14F-4D97-AF65-F5344CB8AC3E}">
        <p14:creationId xmlns:p14="http://schemas.microsoft.com/office/powerpoint/2010/main" val="297045816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1"/>
            <a:ext cx="5508420"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450503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4">
          <p15:clr>
            <a:srgbClr val="A4A3A4"/>
          </p15:clr>
        </p15:guide>
        <p15:guide id="8" pos="1372">
          <p15:clr>
            <a:srgbClr val="A4A3A4"/>
          </p15:clr>
        </p15:guide>
        <p15:guide id="9" pos="1556">
          <p15:clr>
            <a:srgbClr val="A4A3A4"/>
          </p15:clr>
        </p15:guide>
        <p15:guide id="10" pos="1966">
          <p15:clr>
            <a:srgbClr val="A4A3A4"/>
          </p15:clr>
        </p15:guide>
        <p15:guide id="11" pos="2151">
          <p15:clr>
            <a:srgbClr val="A4A3A4"/>
          </p15:clr>
        </p15:guide>
        <p15:guide id="12" pos="2562">
          <p15:clr>
            <a:srgbClr val="A4A3A4"/>
          </p15:clr>
        </p15:guide>
        <p15:guide id="13" pos="2745">
          <p15:clr>
            <a:srgbClr val="A4A3A4"/>
          </p15:clr>
        </p15:guide>
        <p15:guide id="14" pos="3156">
          <p15:clr>
            <a:srgbClr val="A4A3A4"/>
          </p15:clr>
        </p15:guide>
        <p15:guide id="15" pos="3339">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6">
          <p15:clr>
            <a:srgbClr val="A4A3A4"/>
          </p15:clr>
        </p15:guide>
        <p15:guide id="24" pos="6123">
          <p15:clr>
            <a:srgbClr val="A4A3A4"/>
          </p15:clr>
        </p15:guide>
        <p15:guide id="25" pos="6308">
          <p15:clr>
            <a:srgbClr val="A4A3A4"/>
          </p15:clr>
        </p15:guide>
        <p15:guide id="26" pos="6716">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3" y="2025651"/>
            <a:ext cx="4161980"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2"/>
            <a:ext cx="4162425" cy="338554"/>
          </a:xfrm>
        </p:spPr>
        <p:txBody>
          <a:bodyPr/>
          <a:lstStyle>
            <a:lvl1pPr marL="0" indent="0">
              <a:buNone/>
              <a:defRPr sz="2200">
                <a:latin typeface="+mn-lt"/>
              </a:defRPr>
            </a:lvl1pPr>
            <a:lvl2pPr marL="228551" indent="0">
              <a:buNone/>
              <a:defRPr/>
            </a:lvl2pPr>
            <a:lvl3pPr marL="457100" indent="0">
              <a:buNone/>
              <a:defRPr/>
            </a:lvl3pPr>
            <a:lvl4pPr marL="661844" indent="0">
              <a:buNone/>
              <a:defRPr/>
            </a:lvl4pPr>
            <a:lvl5pPr marL="855478"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3"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851997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30">
          <p15:clr>
            <a:srgbClr val="C35EA4"/>
          </p15:clr>
        </p15:guide>
        <p15:guide id="11" pos="2994">
          <p15:clr>
            <a:srgbClr val="5ACBF0"/>
          </p15:clr>
        </p15:guide>
        <p15:guide id="12" pos="3543">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70906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9" y="3152001"/>
            <a:ext cx="4161980"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3"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8946892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0">
          <p15:clr>
            <a:srgbClr val="5ACBF0"/>
          </p15:clr>
        </p15:guide>
        <p15:guide id="7" pos="3728">
          <p15:clr>
            <a:srgbClr val="C35EA4"/>
          </p15:clr>
        </p15:guide>
        <p15:guide id="8" pos="3545">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1"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3"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2758432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2">
          <p15:clr>
            <a:srgbClr val="C35EA4"/>
          </p15:clr>
        </p15:guide>
        <p15:guide id="5" pos="2994">
          <p15:clr>
            <a:srgbClr val="5ACBF0"/>
          </p15:clr>
        </p15:guide>
        <p15:guide id="6" pos="3547">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1"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1" lvl="0" indent="-22855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3150146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2"/>
            <a:ext cx="11018521"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0"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1" lvl="0" indent="-22855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4689193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200" y="5689604"/>
            <a:ext cx="5367529"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9"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1" lvl="0" indent="-228551"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4"/>
            <a:ext cx="5367529"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6" y="2025650"/>
            <a:ext cx="5367529"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1" lvl="0" indent="-228551"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0348613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5" y="5689603"/>
            <a:ext cx="3475036"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4" y="5689603"/>
            <a:ext cx="3475036"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3"/>
            <a:ext cx="3475036"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369836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6">
          <p15:clr>
            <a:srgbClr val="5ACBF0"/>
          </p15:clr>
        </p15:guide>
        <p15:guide id="7" pos="2745">
          <p15:clr>
            <a:srgbClr val="5ACBF0"/>
          </p15:clr>
        </p15:guide>
        <p15:guide id="8" pos="4937">
          <p15:clr>
            <a:srgbClr val="5ACBF0"/>
          </p15:clr>
        </p15:guide>
        <p15:guide id="9" pos="512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42"/>
            <a:ext cx="2532889" cy="307777"/>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9"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42"/>
            <a:ext cx="2532889" cy="307777"/>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9"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42"/>
            <a:ext cx="2532889" cy="307777"/>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9"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42"/>
            <a:ext cx="2532889" cy="307777"/>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9"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1164399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1">
          <p15:clr>
            <a:srgbClr val="5ACBF0"/>
          </p15:clr>
        </p15:guide>
        <p15:guide id="8" pos="3748">
          <p15:clr>
            <a:srgbClr val="5ACBF0"/>
          </p15:clr>
        </p15:guide>
        <p15:guide id="9" pos="3934">
          <p15:clr>
            <a:srgbClr val="5ACBF0"/>
          </p15:clr>
        </p15:guide>
        <p15:guide id="10" pos="5531">
          <p15:clr>
            <a:srgbClr val="5ACBF0"/>
          </p15:clr>
        </p15:guide>
        <p15:guide id="11" pos="5716">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4"/>
            <a:ext cx="9144000" cy="498598"/>
          </a:xfrm>
          <a:noFill/>
        </p:spPr>
        <p:txBody>
          <a:bodyPr lIns="0" tIns="0" rIns="0" bIns="0" anchor="b" anchorCtr="0">
            <a:spAutoFit/>
          </a:bodyPr>
          <a:lstStyle>
            <a:lvl1pPr algn="l" defTabSz="932540"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6050706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4"/>
            <a:ext cx="9144000" cy="498598"/>
          </a:xfrm>
          <a:noFill/>
        </p:spPr>
        <p:txBody>
          <a:bodyPr lIns="0" tIns="0" rIns="0" bIns="0" anchor="b" anchorCtr="0">
            <a:spAutoFit/>
          </a:bodyPr>
          <a:lstStyle>
            <a:lvl1pPr algn="l" defTabSz="932540"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37897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40"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05169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6">
          <p15:clr>
            <a:srgbClr val="5ACBF0"/>
          </p15:clr>
        </p15:guide>
        <p15:guide id="3" orient="horz" pos="1911">
          <p15:clr>
            <a:srgbClr val="5ACBF0"/>
          </p15:clr>
        </p15:guide>
        <p15:guide id="4" orient="horz" pos="250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03602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40"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40921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056106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24872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57200"/>
            <a:ext cx="11018521" cy="553998"/>
          </a:xfrm>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2"/>
            <a:ext cx="11018521"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78"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80"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8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69"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8859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4"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2"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088"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773765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2" y="1436691"/>
            <a:ext cx="11018839"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4" y="6269042"/>
            <a:ext cx="12192002"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7176889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2"/>
            <a:ext cx="11306469" cy="397545"/>
          </a:xfrm>
        </p:spPr>
        <p:txBody>
          <a:bodyPr wrap="square" lIns="0" tIns="0" rIns="0" bIns="0">
            <a:spAutoFit/>
          </a:bodyPr>
          <a:lstStyle>
            <a:lvl1pPr>
              <a:lnSpc>
                <a:spcPts val="3136"/>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9" y="1922589"/>
            <a:ext cx="9384446" cy="59554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1" indent="0">
              <a:buNone/>
              <a:defRPr/>
            </a:lvl2pPr>
            <a:lvl3pPr marL="448101" indent="0">
              <a:buNone/>
              <a:defRPr/>
            </a:lvl3pPr>
            <a:lvl4pPr marL="672152" indent="0">
              <a:buNone/>
              <a:defRPr/>
            </a:lvl4pPr>
            <a:lvl5pPr marL="896203"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9" y="3151389"/>
            <a:ext cx="3618380" cy="2675156"/>
          </a:xfr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3" marR="0" indent="-280063" algn="l" defTabSz="914180"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1" indent="0">
              <a:buNone/>
              <a:defRPr/>
            </a:lvl3pPr>
            <a:lvl4pPr marL="672152" indent="0">
              <a:buNone/>
              <a:defRPr/>
            </a:lvl4pPr>
            <a:lvl5pPr marL="896203" indent="0">
              <a:buNone/>
              <a:defRPr/>
            </a:lvl5pPr>
          </a:lstStyle>
          <a:p>
            <a:pPr lvl="0"/>
            <a:r>
              <a:rPr lang="en-US"/>
              <a:t>Paragraph title Segoe UI </a:t>
            </a:r>
            <a:r>
              <a:rPr lang="en-US" err="1"/>
              <a:t>Semibold</a:t>
            </a:r>
            <a:r>
              <a:rPr lang="en-US"/>
              <a:t> 14/18</a:t>
            </a:r>
          </a:p>
          <a:p>
            <a:pPr marL="280063" marR="0" lvl="1" indent="-280063" algn="l" defTabSz="914180"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3" marR="0" lvl="1" indent="-280063" algn="l" defTabSz="914180"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3" y="3151389"/>
            <a:ext cx="3618380" cy="2675156"/>
          </a:xfr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3" marR="0" indent="-280063" algn="l" defTabSz="914180"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1" indent="0">
              <a:buNone/>
              <a:defRPr/>
            </a:lvl3pPr>
            <a:lvl4pPr marL="672152" indent="0">
              <a:buNone/>
              <a:defRPr/>
            </a:lvl4pPr>
            <a:lvl5pPr marL="896203" indent="0">
              <a:buNone/>
              <a:defRPr/>
            </a:lvl5pPr>
          </a:lstStyle>
          <a:p>
            <a:pPr lvl="0"/>
            <a:r>
              <a:rPr lang="en-US"/>
              <a:t>Paragraph title Segoe UI </a:t>
            </a:r>
            <a:r>
              <a:rPr lang="en-US" err="1"/>
              <a:t>Semibold</a:t>
            </a:r>
            <a:r>
              <a:rPr lang="en-US"/>
              <a:t> 14/18</a:t>
            </a:r>
          </a:p>
          <a:p>
            <a:pPr marL="280063" marR="0" lvl="1" indent="-280063" algn="l" defTabSz="914180"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3" marR="0" lvl="1" indent="-280063" algn="l" defTabSz="914180"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4" y="3151389"/>
            <a:ext cx="3618380" cy="2675156"/>
          </a:xfrm>
        </p:spPr>
        <p:txBody>
          <a:bodyPr lIns="0" tIns="0" rIns="0" bIns="0"/>
          <a:lstStyle>
            <a:lvl1pPr marL="0" indent="0">
              <a:lnSpc>
                <a:spcPts val="1765"/>
              </a:lnSpc>
              <a:spcBef>
                <a:spcPts val="0"/>
              </a:spcBef>
              <a:spcAft>
                <a:spcPts val="588"/>
              </a:spcAft>
              <a:buNone/>
              <a:defRPr sz="1371" b="0" spc="0" baseline="0">
                <a:solidFill>
                  <a:schemeClr val="tx2"/>
                </a:solidFill>
                <a:latin typeface="+mj-lt"/>
              </a:defRPr>
            </a:lvl1pPr>
            <a:lvl2pPr marL="280063" marR="0" indent="-280063" algn="l" defTabSz="914180"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1" indent="0">
              <a:buNone/>
              <a:defRPr/>
            </a:lvl3pPr>
            <a:lvl4pPr marL="672152" indent="0">
              <a:buNone/>
              <a:defRPr/>
            </a:lvl4pPr>
            <a:lvl5pPr marL="896203" indent="0">
              <a:buNone/>
              <a:defRPr/>
            </a:lvl5pPr>
          </a:lstStyle>
          <a:p>
            <a:pPr lvl="0"/>
            <a:r>
              <a:rPr lang="en-US"/>
              <a:t>Paragraph title Segoe UI </a:t>
            </a:r>
            <a:r>
              <a:rPr lang="en-US" err="1"/>
              <a:t>Semibold</a:t>
            </a:r>
            <a:r>
              <a:rPr lang="en-US"/>
              <a:t> 14/18</a:t>
            </a:r>
          </a:p>
          <a:p>
            <a:pPr marL="280063" marR="0" lvl="1" indent="-280063" algn="l" defTabSz="914180"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3" marR="0" lvl="1" indent="-280063" algn="l" defTabSz="914180"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43"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3366535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5" y="3150386"/>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9" y="3211973"/>
            <a:ext cx="6667500" cy="430887"/>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1"/>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3"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5083122"/>
      </p:ext>
    </p:extLst>
  </p:cSld>
  <p:clrMapOvr>
    <a:masterClrMapping/>
  </p:clrMapOvr>
  <p:transition>
    <p:fade/>
  </p:transition>
  <p:extLst>
    <p:ext uri="{DCECCB84-F9BA-43D5-87BE-67443E8EF086}">
      <p15:sldGuideLst xmlns:p15="http://schemas.microsoft.com/office/powerpoint/2012/main">
        <p15:guide id="13" pos="2745">
          <p15:clr>
            <a:srgbClr val="5ACBF0"/>
          </p15:clr>
        </p15:guide>
        <p15:guide id="29" orient="horz" pos="2160">
          <p15:clr>
            <a:srgbClr val="5ACBF0"/>
          </p15:clr>
        </p15:guide>
        <p15:guide id="30" pos="2377">
          <p15:clr>
            <a:srgbClr val="5ACBF0"/>
          </p15:clr>
        </p15:guide>
        <p15:guide id="31" pos="3113">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56841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guide id="4" orient="horz" pos="768">
          <p15:clr>
            <a:srgbClr val="FBAE40"/>
          </p15:clr>
        </p15:guide>
        <p15:guide id="5" orient="horz" pos="355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76617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91111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4" y="585789"/>
            <a:ext cx="1366245" cy="292608"/>
          </a:xfrm>
          <a:prstGeom prst="rect">
            <a:avLst/>
          </a:prstGeom>
        </p:spPr>
      </p:pic>
      <p:sp>
        <p:nvSpPr>
          <p:cNvPr id="9" name="Title 1"/>
          <p:cNvSpPr>
            <a:spLocks noGrp="1"/>
          </p:cNvSpPr>
          <p:nvPr>
            <p:ph type="title" hasCustomPrompt="1"/>
          </p:nvPr>
        </p:nvSpPr>
        <p:spPr>
          <a:xfrm>
            <a:off x="584201"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1"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9" y="589607"/>
            <a:ext cx="3200400" cy="307777"/>
          </a:xfrm>
        </p:spPr>
        <p:txBody>
          <a:bodyPr lIns="0" tIns="0" rIns="0" bIns="0"/>
          <a:lstStyle>
            <a:lvl1pPr marL="0" indent="0" algn="r">
              <a:buNone/>
              <a:defRPr sz="2000">
                <a:latin typeface="+mn-lt"/>
              </a:defRPr>
            </a:lvl1pPr>
            <a:lvl2pPr marL="342826" indent="0">
              <a:buNone/>
              <a:defRPr sz="2000"/>
            </a:lvl2pPr>
            <a:lvl3pPr marL="571376" indent="0">
              <a:buNone/>
              <a:defRPr sz="2000"/>
            </a:lvl3pPr>
            <a:lvl4pPr marL="799926" indent="0">
              <a:buNone/>
              <a:defRPr sz="2000"/>
            </a:lvl4pPr>
            <a:lvl5pPr marL="1028477" indent="0">
              <a:buNone/>
              <a:defRPr sz="2000"/>
            </a:lvl5pPr>
          </a:lstStyle>
          <a:p>
            <a:pPr lvl="0"/>
            <a:r>
              <a:rPr lang="en-US"/>
              <a:t>Session code</a:t>
            </a:r>
          </a:p>
        </p:txBody>
      </p:sp>
    </p:spTree>
    <p:extLst>
      <p:ext uri="{BB962C8B-B14F-4D97-AF65-F5344CB8AC3E}">
        <p14:creationId xmlns:p14="http://schemas.microsoft.com/office/powerpoint/2010/main" val="2356543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3" y="1"/>
            <a:ext cx="6858000" cy="430887"/>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6" y="2774471"/>
            <a:ext cx="4579938" cy="3585597"/>
          </a:xfrm>
          <a:prstGeom prst="rect">
            <a:avLst/>
          </a:prstGeom>
        </p:spPr>
        <p:txBody>
          <a:bodyPr lIns="0" tIns="0" rIns="0" bIns="0"/>
          <a:lstStyle>
            <a:lvl1pPr marL="0" marR="0" indent="0" algn="l" defTabSz="932540"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551" marR="0" lvl="0" indent="-228551" algn="l" defTabSz="932540"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1" marR="0" lvl="0" indent="-228551" algn="l" defTabSz="932540"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1" marR="0" lvl="0" indent="-228551" algn="l" defTabSz="932540"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1" marR="0" lvl="0" indent="-228551" algn="l" defTabSz="932540"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1" marR="0" lvl="0" indent="-228551" algn="l" defTabSz="932540"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1" marR="0" lvl="0" indent="-228551" algn="l" defTabSz="932540"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1" marR="0" lvl="0" indent="-228551" algn="l" defTabSz="932540"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6" y="1435608"/>
            <a:ext cx="4579938"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10" y="466081"/>
            <a:ext cx="4552450"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2369121737"/>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8" y="1120576"/>
            <a:ext cx="11339774" cy="1106487"/>
          </a:xfrm>
        </p:spPr>
        <p:txBody>
          <a:bodyPr wrap="square" lIns="0" tIns="0" rIns="0" bIns="0">
            <a:spAutoFit/>
          </a:bodyPr>
          <a:lstStyle>
            <a:lvl1pPr marL="0" marR="0" indent="0" algn="l" defTabSz="914345"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73" indent="0">
              <a:spcBef>
                <a:spcPts val="0"/>
              </a:spcBef>
              <a:spcAft>
                <a:spcPts val="1274"/>
              </a:spcAft>
              <a:buNone/>
              <a:defRPr sz="1961"/>
            </a:lvl4pPr>
            <a:lvl5pPr marL="896363"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7" y="22258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436380" y="6431026"/>
            <a:ext cx="11326085" cy="94962"/>
            <a:chOff x="445128" y="6559056"/>
            <a:chExt cx="11553197" cy="96852"/>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79453" cy="96852"/>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7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448345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8"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45"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36380" y="6431026"/>
            <a:ext cx="11326085" cy="94962"/>
            <a:chOff x="445128" y="6559056"/>
            <a:chExt cx="11553197" cy="96852"/>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79453" cy="96852"/>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79"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2840146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CA05B-1BB3-4226-B9DC-499C8074A5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0537611-B356-4B5E-8D58-E7E4A83629CB}"/>
              </a:ext>
            </a:extLst>
          </p:cNvPr>
          <p:cNvSpPr>
            <a:spLocks noGrp="1"/>
          </p:cNvSpPr>
          <p:nvPr>
            <p:ph idx="1"/>
          </p:nvPr>
        </p:nvSpPr>
        <p:spPr>
          <a:xfrm>
            <a:off x="584199" y="1435507"/>
            <a:ext cx="11018521"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5A3BB3-C3AE-42FF-8035-26E6D7112A7B}"/>
              </a:ext>
            </a:extLst>
          </p:cNvPr>
          <p:cNvSpPr>
            <a:spLocks noGrp="1"/>
          </p:cNvSpPr>
          <p:nvPr>
            <p:ph type="dt" sz="half" idx="10"/>
          </p:nvPr>
        </p:nvSpPr>
        <p:spPr/>
        <p:txBody>
          <a:bodyPr/>
          <a:lstStyle/>
          <a:p>
            <a:fld id="{A5E1E8DB-29B6-4115-848C-2EFFF0F451CA}" type="datetimeFigureOut">
              <a:rPr lang="en-US" smtClean="0"/>
              <a:t>29-Mar-22</a:t>
            </a:fld>
            <a:endParaRPr lang="en-US"/>
          </a:p>
        </p:txBody>
      </p:sp>
      <p:sp>
        <p:nvSpPr>
          <p:cNvPr id="5" name="Footer Placeholder 4">
            <a:extLst>
              <a:ext uri="{FF2B5EF4-FFF2-40B4-BE49-F238E27FC236}">
                <a16:creationId xmlns:a16="http://schemas.microsoft.com/office/drawing/2014/main" id="{048F4AB4-475B-47BD-BDA3-8091F5B1BF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601E75-EEDD-45D0-8A93-7DAC5A4A86C6}"/>
              </a:ext>
            </a:extLst>
          </p:cNvPr>
          <p:cNvSpPr>
            <a:spLocks noGrp="1"/>
          </p:cNvSpPr>
          <p:nvPr>
            <p:ph type="sldNum" sz="quarter" idx="12"/>
          </p:nvPr>
        </p:nvSpPr>
        <p:spPr/>
        <p:txBody>
          <a:bodyPr/>
          <a:lstStyle/>
          <a:p>
            <a:fld id="{C27F41CF-E713-432F-832D-68AB91FDC77C}" type="slidenum">
              <a:rPr lang="en-US" smtClean="0"/>
              <a:t>‹#›</a:t>
            </a:fld>
            <a:endParaRPr lang="en-US"/>
          </a:p>
        </p:txBody>
      </p:sp>
    </p:spTree>
    <p:extLst>
      <p:ext uri="{BB962C8B-B14F-4D97-AF65-F5344CB8AC3E}">
        <p14:creationId xmlns:p14="http://schemas.microsoft.com/office/powerpoint/2010/main" val="27761015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90740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82739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21" Type="http://schemas.openxmlformats.org/officeDocument/2006/relationships/slideLayout" Target="../slideLayouts/slideLayout59.xml"/><Relationship Id="rId34" Type="http://schemas.openxmlformats.org/officeDocument/2006/relationships/slideLayout" Target="../slideLayouts/slideLayout72.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image" Target="../media/image1.emf"/><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theme" Target="../theme/theme2.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8" Type="http://schemas.openxmlformats.org/officeDocument/2006/relationships/slideLayout" Target="../slideLayouts/slideLayout46.xml"/><Relationship Id="rId3"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2416730903"/>
      </p:ext>
    </p:extLst>
  </p:cSld>
  <p:clrMap bg1="dk1" tx1="lt1" bg2="dk2" tx2="lt2" accent1="accent1" accent2="accent2" accent3="accent3" accent4="accent4" accent5="accent5" accent6="accent6" hlink="hlink" folHlink="folHlink"/>
  <p:sldLayoutIdLst>
    <p:sldLayoutId id="2147485287" r:id="rId1"/>
    <p:sldLayoutId id="2147485288" r:id="rId2"/>
    <p:sldLayoutId id="2147485289" r:id="rId3"/>
    <p:sldLayoutId id="2147485290" r:id="rId4"/>
    <p:sldLayoutId id="2147485291" r:id="rId5"/>
    <p:sldLayoutId id="2147485292" r:id="rId6"/>
    <p:sldLayoutId id="2147485293" r:id="rId7"/>
    <p:sldLayoutId id="2147485294" r:id="rId8"/>
    <p:sldLayoutId id="2147485295" r:id="rId9"/>
    <p:sldLayoutId id="2147485296" r:id="rId10"/>
    <p:sldLayoutId id="2147485297" r:id="rId11"/>
    <p:sldLayoutId id="2147485298" r:id="rId12"/>
    <p:sldLayoutId id="2147485299" r:id="rId13"/>
    <p:sldLayoutId id="2147485300" r:id="rId14"/>
    <p:sldLayoutId id="2147485301" r:id="rId15"/>
    <p:sldLayoutId id="2147485302" r:id="rId16"/>
    <p:sldLayoutId id="2147485303" r:id="rId17"/>
    <p:sldLayoutId id="2147485304" r:id="rId18"/>
    <p:sldLayoutId id="2147485305" r:id="rId19"/>
    <p:sldLayoutId id="2147485306" r:id="rId20"/>
    <p:sldLayoutId id="2147485307" r:id="rId21"/>
    <p:sldLayoutId id="2147485308" r:id="rId22"/>
    <p:sldLayoutId id="2147485309" r:id="rId23"/>
    <p:sldLayoutId id="2147485310" r:id="rId24"/>
    <p:sldLayoutId id="2147485311" r:id="rId25"/>
    <p:sldLayoutId id="2147485312" r:id="rId26"/>
    <p:sldLayoutId id="2147485313" r:id="rId27"/>
    <p:sldLayoutId id="2147485314" r:id="rId28"/>
    <p:sldLayoutId id="2147485320" r:id="rId29"/>
    <p:sldLayoutId id="2147485321" r:id="rId30"/>
    <p:sldLayoutId id="2147485322" r:id="rId31"/>
    <p:sldLayoutId id="2147485323" r:id="rId32"/>
    <p:sldLayoutId id="2147485324" r:id="rId33"/>
    <p:sldLayoutId id="2147485325" r:id="rId34"/>
    <p:sldLayoutId id="2147485326" r:id="rId35"/>
    <p:sldLayoutId id="2147485518" r:id="rId36"/>
    <p:sldLayoutId id="2147485520" r:id="rId37"/>
    <p:sldLayoutId id="2147485521" r:id="rId3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1"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199" y="1435507"/>
            <a:ext cx="11018521"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7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8"/>
          <a:srcRect l="762"/>
          <a:stretch/>
        </p:blipFill>
        <p:spPr>
          <a:xfrm rot="5400000">
            <a:off x="9464500" y="2843777"/>
            <a:ext cx="6858000" cy="1170455"/>
          </a:xfrm>
          <a:prstGeom prst="rect">
            <a:avLst/>
          </a:prstGeom>
        </p:spPr>
      </p:pic>
    </p:spTree>
    <p:extLst>
      <p:ext uri="{BB962C8B-B14F-4D97-AF65-F5344CB8AC3E}">
        <p14:creationId xmlns:p14="http://schemas.microsoft.com/office/powerpoint/2010/main" val="3610523173"/>
      </p:ext>
    </p:extLst>
  </p:cSld>
  <p:clrMap bg1="dk1" tx1="lt1" bg2="dk2" tx2="lt2" accent1="accent1" accent2="accent2" accent3="accent3" accent4="accent4" accent5="accent5" accent6="accent6" hlink="hlink" folHlink="folHlink"/>
  <p:sldLayoutIdLst>
    <p:sldLayoutId id="2147485523" r:id="rId1"/>
    <p:sldLayoutId id="2147485524" r:id="rId2"/>
    <p:sldLayoutId id="2147485525" r:id="rId3"/>
    <p:sldLayoutId id="2147485526" r:id="rId4"/>
    <p:sldLayoutId id="2147485527" r:id="rId5"/>
    <p:sldLayoutId id="2147485528" r:id="rId6"/>
    <p:sldLayoutId id="2147485529" r:id="rId7"/>
    <p:sldLayoutId id="2147485530" r:id="rId8"/>
    <p:sldLayoutId id="2147485531" r:id="rId9"/>
    <p:sldLayoutId id="2147485532" r:id="rId10"/>
    <p:sldLayoutId id="2147485533" r:id="rId11"/>
    <p:sldLayoutId id="2147485534" r:id="rId12"/>
    <p:sldLayoutId id="2147485535" r:id="rId13"/>
    <p:sldLayoutId id="2147485536" r:id="rId14"/>
    <p:sldLayoutId id="2147485537" r:id="rId15"/>
    <p:sldLayoutId id="2147485538" r:id="rId16"/>
    <p:sldLayoutId id="2147485539" r:id="rId17"/>
    <p:sldLayoutId id="2147485540" r:id="rId18"/>
    <p:sldLayoutId id="2147485541" r:id="rId19"/>
    <p:sldLayoutId id="2147485542" r:id="rId20"/>
    <p:sldLayoutId id="2147485543" r:id="rId21"/>
    <p:sldLayoutId id="2147485544" r:id="rId22"/>
    <p:sldLayoutId id="2147485545" r:id="rId23"/>
    <p:sldLayoutId id="2147485546" r:id="rId24"/>
    <p:sldLayoutId id="2147485547" r:id="rId25"/>
    <p:sldLayoutId id="2147485548" r:id="rId26"/>
    <p:sldLayoutId id="2147485549" r:id="rId27"/>
    <p:sldLayoutId id="2147485550" r:id="rId28"/>
    <p:sldLayoutId id="2147485551" r:id="rId29"/>
    <p:sldLayoutId id="2147485552" r:id="rId30"/>
    <p:sldLayoutId id="2147485553" r:id="rId31"/>
    <p:sldLayoutId id="2147485554" r:id="rId32"/>
    <p:sldLayoutId id="2147485555" r:id="rId33"/>
    <p:sldLayoutId id="2147485556" r:id="rId34"/>
    <p:sldLayoutId id="2147485557" r:id="rId35"/>
    <p:sldLayoutId id="2147485558" r:id="rId36"/>
  </p:sldLayoutIdLst>
  <p:transition>
    <p:fade/>
  </p:transition>
  <p:hf sldNum="0" hdr="0" ftr="0" dt="0"/>
  <p:txStyles>
    <p:titleStyle>
      <a:lvl1pPr algn="l" defTabSz="932540"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1" marR="0" indent="-228551"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00" marR="0" indent="-228551"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83" marR="0" indent="-199981"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780" marR="0" indent="-180935"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16" marR="0" indent="-168239" algn="l" defTabSz="93254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483" indent="-233135"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755" indent="-233135"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024" indent="-233135"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295" indent="-233135" algn="l" defTabSz="93254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40" rtl="0" eaLnBrk="1" latinLnBrk="0" hangingPunct="1">
        <a:defRPr sz="1800" kern="1200">
          <a:solidFill>
            <a:schemeClr val="tx1"/>
          </a:solidFill>
          <a:latin typeface="+mn-lt"/>
          <a:ea typeface="+mn-ea"/>
          <a:cs typeface="+mn-cs"/>
        </a:defRPr>
      </a:lvl1pPr>
      <a:lvl2pPr marL="466271" algn="l" defTabSz="932540" rtl="0" eaLnBrk="1" latinLnBrk="0" hangingPunct="1">
        <a:defRPr sz="1800" kern="1200">
          <a:solidFill>
            <a:schemeClr val="tx1"/>
          </a:solidFill>
          <a:latin typeface="+mn-lt"/>
          <a:ea typeface="+mn-ea"/>
          <a:cs typeface="+mn-cs"/>
        </a:defRPr>
      </a:lvl2pPr>
      <a:lvl3pPr marL="932540" algn="l" defTabSz="932540" rtl="0" eaLnBrk="1" latinLnBrk="0" hangingPunct="1">
        <a:defRPr sz="1800" kern="1200">
          <a:solidFill>
            <a:schemeClr val="tx1"/>
          </a:solidFill>
          <a:latin typeface="+mn-lt"/>
          <a:ea typeface="+mn-ea"/>
          <a:cs typeface="+mn-cs"/>
        </a:defRPr>
      </a:lvl3pPr>
      <a:lvl4pPr marL="1398809" algn="l" defTabSz="932540" rtl="0" eaLnBrk="1" latinLnBrk="0" hangingPunct="1">
        <a:defRPr sz="1800" kern="1200">
          <a:solidFill>
            <a:schemeClr val="tx1"/>
          </a:solidFill>
          <a:latin typeface="+mn-lt"/>
          <a:ea typeface="+mn-ea"/>
          <a:cs typeface="+mn-cs"/>
        </a:defRPr>
      </a:lvl4pPr>
      <a:lvl5pPr marL="1865079" algn="l" defTabSz="932540" rtl="0" eaLnBrk="1" latinLnBrk="0" hangingPunct="1">
        <a:defRPr sz="1800" kern="1200">
          <a:solidFill>
            <a:schemeClr val="tx1"/>
          </a:solidFill>
          <a:latin typeface="+mn-lt"/>
          <a:ea typeface="+mn-ea"/>
          <a:cs typeface="+mn-cs"/>
        </a:defRPr>
      </a:lvl5pPr>
      <a:lvl6pPr marL="2331350" algn="l" defTabSz="932540" rtl="0" eaLnBrk="1" latinLnBrk="0" hangingPunct="1">
        <a:defRPr sz="1800" kern="1200">
          <a:solidFill>
            <a:schemeClr val="tx1"/>
          </a:solidFill>
          <a:latin typeface="+mn-lt"/>
          <a:ea typeface="+mn-ea"/>
          <a:cs typeface="+mn-cs"/>
        </a:defRPr>
      </a:lvl6pPr>
      <a:lvl7pPr marL="2797619" algn="l" defTabSz="932540" rtl="0" eaLnBrk="1" latinLnBrk="0" hangingPunct="1">
        <a:defRPr sz="1800" kern="1200">
          <a:solidFill>
            <a:schemeClr val="tx1"/>
          </a:solidFill>
          <a:latin typeface="+mn-lt"/>
          <a:ea typeface="+mn-ea"/>
          <a:cs typeface="+mn-cs"/>
        </a:defRPr>
      </a:lvl7pPr>
      <a:lvl8pPr marL="3263888" algn="l" defTabSz="932540" rtl="0" eaLnBrk="1" latinLnBrk="0" hangingPunct="1">
        <a:defRPr sz="1800" kern="1200">
          <a:solidFill>
            <a:schemeClr val="tx1"/>
          </a:solidFill>
          <a:latin typeface="+mn-lt"/>
          <a:ea typeface="+mn-ea"/>
          <a:cs typeface="+mn-cs"/>
        </a:defRPr>
      </a:lvl8pPr>
      <a:lvl9pPr marL="3730159" algn="l" defTabSz="93254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4">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5.xml"/><Relationship Id="rId1" Type="http://schemas.openxmlformats.org/officeDocument/2006/relationships/tags" Target="../tags/tag2.xml"/><Relationship Id="rId4" Type="http://schemas.openxmlformats.org/officeDocument/2006/relationships/image" Target="../media/image50.png"/></Relationships>
</file>

<file path=ppt/slides/_rels/slide1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2.xml"/><Relationship Id="rId1" Type="http://schemas.openxmlformats.org/officeDocument/2006/relationships/slideLayout" Target="../slideLayouts/slideLayout35.xml"/><Relationship Id="rId4" Type="http://schemas.openxmlformats.org/officeDocument/2006/relationships/image" Target="../media/image52.svg"/></Relationships>
</file>

<file path=ppt/slides/_rels/slide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3.xml"/><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5.xml"/><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5.xml"/></Relationships>
</file>

<file path=ppt/slides/_rels/slide2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2.xml"/><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3.xml"/><Relationship Id="rId1" Type="http://schemas.openxmlformats.org/officeDocument/2006/relationships/slideLayout" Target="../slideLayouts/slideLayout35.xml"/></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4.xml"/><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13" Type="http://schemas.openxmlformats.org/officeDocument/2006/relationships/image" Target="../media/image24.png"/><Relationship Id="rId18" Type="http://schemas.openxmlformats.org/officeDocument/2006/relationships/image" Target="../media/image29.svg"/><Relationship Id="rId26" Type="http://schemas.openxmlformats.org/officeDocument/2006/relationships/image" Target="../media/image37.svg"/><Relationship Id="rId3" Type="http://schemas.openxmlformats.org/officeDocument/2006/relationships/image" Target="../media/image14.png"/><Relationship Id="rId21" Type="http://schemas.openxmlformats.org/officeDocument/2006/relationships/image" Target="../media/image32.png"/><Relationship Id="rId34" Type="http://schemas.openxmlformats.org/officeDocument/2006/relationships/image" Target="../media/image45.svg"/><Relationship Id="rId7" Type="http://schemas.openxmlformats.org/officeDocument/2006/relationships/image" Target="../media/image18.png"/><Relationship Id="rId12" Type="http://schemas.openxmlformats.org/officeDocument/2006/relationships/image" Target="../media/image23.svg"/><Relationship Id="rId17" Type="http://schemas.openxmlformats.org/officeDocument/2006/relationships/image" Target="../media/image28.png"/><Relationship Id="rId25" Type="http://schemas.openxmlformats.org/officeDocument/2006/relationships/image" Target="../media/image36.png"/><Relationship Id="rId33" Type="http://schemas.openxmlformats.org/officeDocument/2006/relationships/image" Target="../media/image44.png"/><Relationship Id="rId2" Type="http://schemas.openxmlformats.org/officeDocument/2006/relationships/notesSlide" Target="../notesSlides/notesSlide5.xml"/><Relationship Id="rId16" Type="http://schemas.openxmlformats.org/officeDocument/2006/relationships/image" Target="../media/image27.svg"/><Relationship Id="rId20" Type="http://schemas.openxmlformats.org/officeDocument/2006/relationships/image" Target="../media/image31.svg"/><Relationship Id="rId29" Type="http://schemas.openxmlformats.org/officeDocument/2006/relationships/image" Target="../media/image40.png"/><Relationship Id="rId1" Type="http://schemas.openxmlformats.org/officeDocument/2006/relationships/slideLayout" Target="../slideLayouts/slideLayout47.xml"/><Relationship Id="rId6" Type="http://schemas.openxmlformats.org/officeDocument/2006/relationships/image" Target="../media/image17.svg"/><Relationship Id="rId11" Type="http://schemas.openxmlformats.org/officeDocument/2006/relationships/image" Target="../media/image22.png"/><Relationship Id="rId24" Type="http://schemas.openxmlformats.org/officeDocument/2006/relationships/image" Target="../media/image35.svg"/><Relationship Id="rId32" Type="http://schemas.openxmlformats.org/officeDocument/2006/relationships/image" Target="../media/image43.svg"/><Relationship Id="rId5" Type="http://schemas.openxmlformats.org/officeDocument/2006/relationships/image" Target="../media/image16.png"/><Relationship Id="rId15" Type="http://schemas.openxmlformats.org/officeDocument/2006/relationships/image" Target="../media/image26.png"/><Relationship Id="rId23" Type="http://schemas.openxmlformats.org/officeDocument/2006/relationships/image" Target="../media/image34.png"/><Relationship Id="rId28" Type="http://schemas.openxmlformats.org/officeDocument/2006/relationships/image" Target="../media/image39.svg"/><Relationship Id="rId10" Type="http://schemas.openxmlformats.org/officeDocument/2006/relationships/image" Target="../media/image21.svg"/><Relationship Id="rId19" Type="http://schemas.openxmlformats.org/officeDocument/2006/relationships/image" Target="../media/image30.png"/><Relationship Id="rId31" Type="http://schemas.openxmlformats.org/officeDocument/2006/relationships/image" Target="../media/image42.pn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 Id="rId22" Type="http://schemas.openxmlformats.org/officeDocument/2006/relationships/image" Target="../media/image33.svg"/><Relationship Id="rId27" Type="http://schemas.openxmlformats.org/officeDocument/2006/relationships/image" Target="../media/image38.png"/><Relationship Id="rId30" Type="http://schemas.openxmlformats.org/officeDocument/2006/relationships/image" Target="../media/image41.svg"/><Relationship Id="rId8" Type="http://schemas.openxmlformats.org/officeDocument/2006/relationships/image" Target="../media/image19.svg"/></Relationships>
</file>

<file path=ppt/slides/_rels/slide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6.xml"/><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584200" y="2457797"/>
            <a:ext cx="9144000" cy="1107996"/>
          </a:xfrm>
        </p:spPr>
        <p:txBody>
          <a:bodyPr/>
          <a:lstStyle/>
          <a:p>
            <a:r>
              <a:rPr lang="en-US">
                <a:solidFill>
                  <a:srgbClr val="0078D4"/>
                </a:solidFill>
              </a:rPr>
              <a:t>Management Group and Subscription Organization</a:t>
            </a:r>
          </a:p>
        </p:txBody>
      </p:sp>
      <p:sp>
        <p:nvSpPr>
          <p:cNvPr id="5" name="Text Placeholder 4">
            <a:extLst>
              <a:ext uri="{FF2B5EF4-FFF2-40B4-BE49-F238E27FC236}">
                <a16:creationId xmlns:a16="http://schemas.microsoft.com/office/drawing/2014/main" id="{85B1FE4F-E283-4AE1-B5CE-AB783E45454D}"/>
              </a:ext>
            </a:extLst>
          </p:cNvPr>
          <p:cNvSpPr>
            <a:spLocks noGrp="1"/>
          </p:cNvSpPr>
          <p:nvPr>
            <p:ph type="body" sz="quarter" idx="12"/>
          </p:nvPr>
        </p:nvSpPr>
        <p:spPr>
          <a:xfrm>
            <a:off x="736600" y="4606636"/>
            <a:ext cx="9144000" cy="615553"/>
          </a:xfrm>
          <a:noFill/>
        </p:spPr>
        <p:txBody>
          <a:bodyPr/>
          <a:lstStyle/>
          <a:p>
            <a:r>
              <a:rPr lang="en-US" sz="1800">
                <a:solidFill>
                  <a:srgbClr val="50E6FF"/>
                </a:solidFill>
              </a:rPr>
              <a:t>&lt;name&gt;</a:t>
            </a:r>
          </a:p>
          <a:p>
            <a:endParaRPr lang="en-US"/>
          </a:p>
        </p:txBody>
      </p:sp>
      <p:pic>
        <p:nvPicPr>
          <p:cNvPr id="2" name="Picture 2" descr="Microsoft Azure – Apps bei Google Play">
            <a:extLst>
              <a:ext uri="{FF2B5EF4-FFF2-40B4-BE49-F238E27FC236}">
                <a16:creationId xmlns:a16="http://schemas.microsoft.com/office/drawing/2014/main" id="{B752FC2E-3F53-4386-9C66-4CF29E7210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60810" y="1710684"/>
            <a:ext cx="3156220" cy="3156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3069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160860"/>
            <a:ext cx="12192000" cy="553998"/>
          </a:xfrm>
        </p:spPr>
        <p:txBody>
          <a:bodyPr wrap="square" anchor="t">
            <a:normAutofit/>
          </a:bodyPr>
          <a:lstStyle/>
          <a:p>
            <a:pPr algn="ctr"/>
            <a:r>
              <a:rPr lang="en-US"/>
              <a:t>Subscription Design Consider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0" y="2133600"/>
            <a:ext cx="4999711" cy="3508653"/>
          </a:xfrm>
        </p:spPr>
        <p:txBody>
          <a:bodyPr/>
          <a:lstStyle/>
          <a:p>
            <a:r>
              <a:rPr lang="en-US" sz="2000" spc="-50">
                <a:ln w="3175">
                  <a:noFill/>
                </a:ln>
                <a:latin typeface="+mj-lt"/>
              </a:rPr>
              <a:t>Subscriptions serve as a unit of scale </a:t>
            </a:r>
          </a:p>
          <a:p>
            <a:r>
              <a:rPr lang="en-US" sz="2000" spc="-50">
                <a:ln w="3175">
                  <a:noFill/>
                </a:ln>
                <a:latin typeface="+mj-lt"/>
              </a:rPr>
              <a:t>Platform specific subscriptions</a:t>
            </a:r>
          </a:p>
          <a:p>
            <a:pPr lvl="1"/>
            <a:r>
              <a:rPr lang="en-US" spc="-50">
                <a:ln w="3175">
                  <a:noFill/>
                </a:ln>
                <a:latin typeface="+mj-lt"/>
                <a:cs typeface="Segoe UI" panose="020B0502040204020203" pitchFamily="34" charset="0"/>
              </a:rPr>
              <a:t>Identity</a:t>
            </a:r>
          </a:p>
          <a:p>
            <a:pPr lvl="1"/>
            <a:r>
              <a:rPr lang="en-US" spc="-50">
                <a:ln w="3175">
                  <a:noFill/>
                </a:ln>
                <a:latin typeface="+mj-lt"/>
                <a:cs typeface="Segoe UI" panose="020B0502040204020203" pitchFamily="34" charset="0"/>
              </a:rPr>
              <a:t>Connectivity</a:t>
            </a:r>
          </a:p>
          <a:p>
            <a:pPr lvl="1"/>
            <a:r>
              <a:rPr lang="en-US" spc="-50">
                <a:ln w="3175">
                  <a:noFill/>
                </a:ln>
                <a:latin typeface="+mj-lt"/>
                <a:cs typeface="Segoe UI" panose="020B0502040204020203" pitchFamily="34" charset="0"/>
              </a:rPr>
              <a:t>Management</a:t>
            </a:r>
          </a:p>
          <a:p>
            <a:pPr lvl="1"/>
            <a:r>
              <a:rPr lang="en-US" spc="-50">
                <a:ln w="3175">
                  <a:noFill/>
                </a:ln>
                <a:latin typeface="+mj-lt"/>
                <a:cs typeface="Segoe UI" panose="020B0502040204020203" pitchFamily="34" charset="0"/>
              </a:rPr>
              <a:t>Landing Zone</a:t>
            </a:r>
          </a:p>
          <a:p>
            <a:pPr lvl="1"/>
            <a:r>
              <a:rPr lang="en-US" spc="-50">
                <a:ln w="3175">
                  <a:noFill/>
                </a:ln>
                <a:latin typeface="+mj-lt"/>
                <a:cs typeface="Segoe UI" panose="020B0502040204020203" pitchFamily="34" charset="0"/>
              </a:rPr>
              <a:t>Sandbox</a:t>
            </a:r>
          </a:p>
          <a:p>
            <a:r>
              <a:rPr lang="en-US" sz="2000" spc="-50">
                <a:ln w="3175">
                  <a:noFill/>
                </a:ln>
                <a:latin typeface="+mj-lt"/>
                <a:cs typeface="Segoe UI" panose="020B0502040204020203" pitchFamily="34" charset="0"/>
              </a:rPr>
              <a:t>Subscriptions </a:t>
            </a:r>
            <a:r>
              <a:rPr lang="en-US" sz="2000" spc="-50">
                <a:ln w="3175">
                  <a:noFill/>
                </a:ln>
                <a:latin typeface="+mj-lt"/>
              </a:rPr>
              <a:t>should be used as a management boundary for governance and isolation </a:t>
            </a:r>
            <a:endParaRPr lang="en-US" sz="2000" spc="-50">
              <a:ln w="3175">
                <a:noFill/>
              </a:ln>
              <a:latin typeface="+mj-lt"/>
              <a:cs typeface="Segoe UI" panose="020B0502040204020203" pitchFamily="34" charset="0"/>
            </a:endParaRPr>
          </a:p>
        </p:txBody>
      </p:sp>
      <p:pic>
        <p:nvPicPr>
          <p:cNvPr id="3" name="Picture 2" descr="Graphical user interface, diagram&#10;&#10;Description automatically generated">
            <a:extLst>
              <a:ext uri="{FF2B5EF4-FFF2-40B4-BE49-F238E27FC236}">
                <a16:creationId xmlns:a16="http://schemas.microsoft.com/office/drawing/2014/main" id="{514D92D8-1234-421C-B1A5-5E867C9BFACD}"/>
              </a:ext>
            </a:extLst>
          </p:cNvPr>
          <p:cNvPicPr>
            <a:picLocks noChangeAspect="1"/>
          </p:cNvPicPr>
          <p:nvPr/>
        </p:nvPicPr>
        <p:blipFill>
          <a:blip r:embed="rId3"/>
          <a:stretch>
            <a:fillRect/>
          </a:stretch>
        </p:blipFill>
        <p:spPr>
          <a:xfrm>
            <a:off x="5714766" y="1441462"/>
            <a:ext cx="6316968" cy="478414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5" name="Straight Connector 4">
            <a:extLst>
              <a:ext uri="{FF2B5EF4-FFF2-40B4-BE49-F238E27FC236}">
                <a16:creationId xmlns:a16="http://schemas.microsoft.com/office/drawing/2014/main" id="{30F4076C-5031-4C99-9401-8E2C18B78AAC}"/>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899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6" end="6"/>
                                            </p:txEl>
                                          </p:spTgt>
                                        </p:tgtEl>
                                        <p:attrNameLst>
                                          <p:attrName>style.visibility</p:attrName>
                                        </p:attrNameLst>
                                      </p:cBhvr>
                                      <p:to>
                                        <p:strVal val="visible"/>
                                      </p:to>
                                    </p:set>
                                    <p:animEffect transition="in" filter="fade">
                                      <p:cBhvr>
                                        <p:cTn id="37" dur="500"/>
                                        <p:tgtEl>
                                          <p:spTgt spid="15">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5">
                                            <p:txEl>
                                              <p:pRg st="7" end="7"/>
                                            </p:txEl>
                                          </p:spTgt>
                                        </p:tgtEl>
                                        <p:attrNameLst>
                                          <p:attrName>style.visibility</p:attrName>
                                        </p:attrNameLst>
                                      </p:cBhvr>
                                      <p:to>
                                        <p:strVal val="visible"/>
                                      </p:to>
                                    </p:set>
                                    <p:animEffect transition="in" filter="fade">
                                      <p:cBhvr>
                                        <p:cTn id="42" dur="500"/>
                                        <p:tgtEl>
                                          <p:spTgt spid="1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C903219C-64BA-41C3-B8C8-80A269C8312E}"/>
              </a:ext>
            </a:extLst>
          </p:cNvPr>
          <p:cNvSpPr>
            <a:spLocks noGrp="1"/>
          </p:cNvSpPr>
          <p:nvPr>
            <p:ph type="title"/>
          </p:nvPr>
        </p:nvSpPr>
        <p:spPr>
          <a:xfrm>
            <a:off x="0" y="135228"/>
            <a:ext cx="12192000" cy="553998"/>
          </a:xfrm>
        </p:spPr>
        <p:txBody>
          <a:bodyPr/>
          <a:lstStyle/>
          <a:p>
            <a:pPr algn="ctr"/>
            <a:r>
              <a:rPr lang="en-US" dirty="0"/>
              <a:t>Why use management groups?</a:t>
            </a:r>
          </a:p>
        </p:txBody>
      </p:sp>
      <p:sp>
        <p:nvSpPr>
          <p:cNvPr id="8" name="Content Placeholder 2">
            <a:extLst>
              <a:ext uri="{FF2B5EF4-FFF2-40B4-BE49-F238E27FC236}">
                <a16:creationId xmlns:a16="http://schemas.microsoft.com/office/drawing/2014/main" id="{B8F922CC-4D7D-43FB-9BB3-7C765CC58DAF}"/>
              </a:ext>
            </a:extLst>
          </p:cNvPr>
          <p:cNvSpPr>
            <a:spLocks noGrp="1"/>
          </p:cNvSpPr>
          <p:nvPr>
            <p:ph idx="1"/>
          </p:nvPr>
        </p:nvSpPr>
        <p:spPr>
          <a:xfrm>
            <a:off x="429653" y="2250953"/>
            <a:ext cx="5511800" cy="2600712"/>
          </a:xfrm>
        </p:spPr>
        <p:txBody>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latin typeface="+mj-lt"/>
              </a:rPr>
              <a:t>Higher scope than Subscrip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latin typeface="+mj-lt"/>
              </a:rPr>
              <a:t>Effectively group and organize subscrip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latin typeface="+mj-lt"/>
              </a:rPr>
              <a:t>Apply policies and IAM across multiple subscrip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dirty="0">
                <a:ln w="3175">
                  <a:noFill/>
                </a:ln>
                <a:latin typeface="+mj-lt"/>
              </a:rPr>
              <a:t>View costs for all subscriptions and resources under a management group</a:t>
            </a:r>
          </a:p>
          <a:p>
            <a:pPr marL="34290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latin typeface="+mj-lt"/>
            </a:endParaRPr>
          </a:p>
          <a:p>
            <a:pPr marL="342900" indent="-342900" defTabSz="914102" fontAlgn="base">
              <a:lnSpc>
                <a:spcPct val="90000"/>
              </a:lnSpc>
              <a:spcBef>
                <a:spcPts val="588"/>
              </a:spcBef>
              <a:spcAft>
                <a:spcPct val="0"/>
              </a:spcAft>
              <a:buFont typeface="Arial" panose="020B0604020202020204" pitchFamily="34" charset="0"/>
              <a:buChar char="•"/>
              <a:defRPr/>
            </a:pPr>
            <a:endParaRPr lang="en-US" sz="2000" spc="-50" dirty="0">
              <a:ln w="3175">
                <a:noFill/>
              </a:ln>
              <a:latin typeface="+mj-lt"/>
            </a:endParaRPr>
          </a:p>
        </p:txBody>
      </p:sp>
      <p:pic>
        <p:nvPicPr>
          <p:cNvPr id="10" name="Picture 9" descr="A picture containing graphical user interface&#10;&#10;Description automatically generated">
            <a:extLst>
              <a:ext uri="{FF2B5EF4-FFF2-40B4-BE49-F238E27FC236}">
                <a16:creationId xmlns:a16="http://schemas.microsoft.com/office/drawing/2014/main" id="{3A644E8A-43E9-4F46-84EF-05FE6493957F}"/>
              </a:ext>
            </a:extLst>
          </p:cNvPr>
          <p:cNvPicPr>
            <a:picLocks noChangeAspect="1"/>
          </p:cNvPicPr>
          <p:nvPr/>
        </p:nvPicPr>
        <p:blipFill>
          <a:blip r:embed="rId4"/>
          <a:stretch>
            <a:fillRect/>
          </a:stretch>
        </p:blipFill>
        <p:spPr>
          <a:xfrm>
            <a:off x="6096000" y="1714500"/>
            <a:ext cx="5558928" cy="3429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5" name="Straight Connector 4">
            <a:extLst>
              <a:ext uri="{FF2B5EF4-FFF2-40B4-BE49-F238E27FC236}">
                <a16:creationId xmlns:a16="http://schemas.microsoft.com/office/drawing/2014/main" id="{0296C085-C1EC-4C35-90D5-B40FE156B15D}"/>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957638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DF820-100C-453B-8DA6-E2D11D6EE5F7}"/>
              </a:ext>
            </a:extLst>
          </p:cNvPr>
          <p:cNvSpPr>
            <a:spLocks noGrp="1"/>
          </p:cNvSpPr>
          <p:nvPr>
            <p:ph type="title"/>
          </p:nvPr>
        </p:nvSpPr>
        <p:spPr>
          <a:xfrm>
            <a:off x="0" y="173862"/>
            <a:ext cx="12192000" cy="553998"/>
          </a:xfrm>
        </p:spPr>
        <p:txBody>
          <a:bodyPr/>
          <a:lstStyle/>
          <a:p>
            <a:pPr algn="ctr"/>
            <a:r>
              <a:rPr lang="en-US"/>
              <a:t>Management Group Limits</a:t>
            </a:r>
          </a:p>
        </p:txBody>
      </p:sp>
      <p:sp>
        <p:nvSpPr>
          <p:cNvPr id="3" name="Content Placeholder 2">
            <a:extLst>
              <a:ext uri="{FF2B5EF4-FFF2-40B4-BE49-F238E27FC236}">
                <a16:creationId xmlns:a16="http://schemas.microsoft.com/office/drawing/2014/main" id="{58609879-96F5-446F-99CA-5CE8169CD36B}"/>
              </a:ext>
            </a:extLst>
          </p:cNvPr>
          <p:cNvSpPr>
            <a:spLocks noGrp="1"/>
          </p:cNvSpPr>
          <p:nvPr>
            <p:ph idx="1"/>
          </p:nvPr>
        </p:nvSpPr>
        <p:spPr>
          <a:xfrm>
            <a:off x="3631843" y="2408351"/>
            <a:ext cx="8012053" cy="3065172"/>
          </a:xfrm>
        </p:spPr>
        <p:txBody>
          <a:bodyPr/>
          <a:lstStyle/>
          <a:p>
            <a:r>
              <a:rPr lang="en-US" sz="2000" spc="-50">
                <a:ln w="3175">
                  <a:noFill/>
                </a:ln>
                <a:latin typeface="+mj-lt"/>
              </a:rPr>
              <a:t>10,000 Management groups can exist in a single directory</a:t>
            </a:r>
          </a:p>
          <a:p>
            <a:r>
              <a:rPr lang="en-US" sz="2000" spc="-50">
                <a:ln w="3175">
                  <a:noFill/>
                </a:ln>
                <a:latin typeface="+mj-lt"/>
              </a:rPr>
              <a:t>A management group tree supports six levels of depth</a:t>
            </a:r>
          </a:p>
          <a:p>
            <a:r>
              <a:rPr lang="en-US" sz="2000" spc="-50">
                <a:ln w="3175">
                  <a:noFill/>
                </a:ln>
                <a:latin typeface="+mj-lt"/>
              </a:rPr>
              <a:t>A subscription and management group can only be associated with one parent</a:t>
            </a:r>
          </a:p>
          <a:p>
            <a:r>
              <a:rPr lang="en-US" sz="2000" spc="-50">
                <a:ln w="3175">
                  <a:noFill/>
                </a:ln>
                <a:latin typeface="+mj-lt"/>
              </a:rPr>
              <a:t>A single management group can support multiple child subscriptions and management groups</a:t>
            </a:r>
          </a:p>
          <a:p>
            <a:endParaRPr lang="en-US" sz="2000" spc="-50">
              <a:ln w="3175">
                <a:noFill/>
              </a:ln>
              <a:latin typeface="+mj-lt"/>
            </a:endParaRPr>
          </a:p>
          <a:p>
            <a:endParaRPr lang="en-US"/>
          </a:p>
        </p:txBody>
      </p:sp>
      <p:cxnSp>
        <p:nvCxnSpPr>
          <p:cNvPr id="4" name="Straight Connector 3">
            <a:extLst>
              <a:ext uri="{FF2B5EF4-FFF2-40B4-BE49-F238E27FC236}">
                <a16:creationId xmlns:a16="http://schemas.microsoft.com/office/drawing/2014/main" id="{C6EA68AD-D54B-417D-A017-F583DB4633FF}"/>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ECDC0042-5046-4E7E-A6FA-83B40A1A32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7514" y="2512520"/>
            <a:ext cx="1832959" cy="1832959"/>
          </a:xfrm>
          <a:prstGeom prst="rect">
            <a:avLst/>
          </a:prstGeom>
        </p:spPr>
      </p:pic>
    </p:spTree>
    <p:extLst>
      <p:ext uri="{BB962C8B-B14F-4D97-AF65-F5344CB8AC3E}">
        <p14:creationId xmlns:p14="http://schemas.microsoft.com/office/powerpoint/2010/main" val="1060865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7FD77-291A-4951-A226-402ED4B67678}"/>
              </a:ext>
            </a:extLst>
          </p:cNvPr>
          <p:cNvSpPr>
            <a:spLocks noGrp="1"/>
          </p:cNvSpPr>
          <p:nvPr>
            <p:ph type="title"/>
          </p:nvPr>
        </p:nvSpPr>
        <p:spPr>
          <a:xfrm>
            <a:off x="0" y="289774"/>
            <a:ext cx="12192000" cy="553998"/>
          </a:xfrm>
        </p:spPr>
        <p:txBody>
          <a:bodyPr wrap="square" anchor="t">
            <a:normAutofit/>
          </a:bodyPr>
          <a:lstStyle/>
          <a:p>
            <a:pPr algn="ctr"/>
            <a:r>
              <a:rPr lang="en-US"/>
              <a:t>Management group access</a:t>
            </a:r>
          </a:p>
        </p:txBody>
      </p:sp>
      <p:pic>
        <p:nvPicPr>
          <p:cNvPr id="7" name="Picture 6">
            <a:extLst>
              <a:ext uri="{FF2B5EF4-FFF2-40B4-BE49-F238E27FC236}">
                <a16:creationId xmlns:a16="http://schemas.microsoft.com/office/drawing/2014/main" id="{E4BBA81A-FF88-49D9-962E-8B4481BF8777}"/>
              </a:ext>
            </a:extLst>
          </p:cNvPr>
          <p:cNvPicPr>
            <a:picLocks noChangeAspect="1"/>
          </p:cNvPicPr>
          <p:nvPr/>
        </p:nvPicPr>
        <p:blipFill>
          <a:blip r:embed="rId3"/>
          <a:stretch>
            <a:fillRect/>
          </a:stretch>
        </p:blipFill>
        <p:spPr>
          <a:xfrm>
            <a:off x="1410035" y="1435100"/>
            <a:ext cx="9367168" cy="40513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795444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1D67ACEB-DBC4-4D01-9DF9-D5BDAF5B1629}"/>
              </a:ext>
            </a:extLst>
          </p:cNvPr>
          <p:cNvSpPr/>
          <p:nvPr/>
        </p:nvSpPr>
        <p:spPr bwMode="auto">
          <a:xfrm>
            <a:off x="409177" y="1096693"/>
            <a:ext cx="6652283" cy="29718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Management Group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Management Group Hierarch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 Organization and Governanc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 Quota and Capacit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Enterprise Scale Landing Zon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ession Summar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Next Steps</a:t>
            </a:r>
            <a:endParaRPr lang="en-US" sz="2000" spc="-50">
              <a:ln w="3175">
                <a:noFill/>
              </a:ln>
              <a:solidFill>
                <a:schemeClr val="tx1"/>
              </a:solidFill>
              <a:latin typeface="+mj-lt"/>
              <a:cs typeface="Segoe UI" pitchFamily="34" charset="0"/>
            </a:endParaRPr>
          </a:p>
        </p:txBody>
      </p:sp>
    </p:spTree>
    <p:extLst>
      <p:ext uri="{BB962C8B-B14F-4D97-AF65-F5344CB8AC3E}">
        <p14:creationId xmlns:p14="http://schemas.microsoft.com/office/powerpoint/2010/main" val="2098099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8F87EDC1-FE10-4B1D-BF81-0B59B2F3BD54}"/>
              </a:ext>
            </a:extLst>
          </p:cNvPr>
          <p:cNvSpPr>
            <a:spLocks noGrp="1"/>
          </p:cNvSpPr>
          <p:nvPr>
            <p:ph type="title"/>
          </p:nvPr>
        </p:nvSpPr>
        <p:spPr>
          <a:xfrm>
            <a:off x="0" y="111454"/>
            <a:ext cx="12192000" cy="553998"/>
          </a:xfrm>
        </p:spPr>
        <p:txBody>
          <a:bodyPr wrap="square" anchor="t">
            <a:normAutofit/>
          </a:bodyPr>
          <a:lstStyle/>
          <a:p>
            <a:pPr algn="ctr"/>
            <a:r>
              <a:rPr lang="en-US"/>
              <a:t>Enterprise Scale Management Group Hierarchy</a:t>
            </a:r>
          </a:p>
        </p:txBody>
      </p:sp>
      <p:cxnSp>
        <p:nvCxnSpPr>
          <p:cNvPr id="4" name="Straight Connector 3">
            <a:extLst>
              <a:ext uri="{FF2B5EF4-FFF2-40B4-BE49-F238E27FC236}">
                <a16:creationId xmlns:a16="http://schemas.microsoft.com/office/drawing/2014/main" id="{9ADB89D4-7CF7-419E-8D57-6B7BA55AF404}"/>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Picture 2" descr="Graphical user interface, application&#10;&#10;Description automatically generated">
            <a:extLst>
              <a:ext uri="{FF2B5EF4-FFF2-40B4-BE49-F238E27FC236}">
                <a16:creationId xmlns:a16="http://schemas.microsoft.com/office/drawing/2014/main" id="{24CE3159-9975-45B5-9758-9E0372E81433}"/>
              </a:ext>
            </a:extLst>
          </p:cNvPr>
          <p:cNvPicPr>
            <a:picLocks noChangeAspect="1"/>
          </p:cNvPicPr>
          <p:nvPr/>
        </p:nvPicPr>
        <p:blipFill>
          <a:blip r:embed="rId3"/>
          <a:stretch>
            <a:fillRect/>
          </a:stretch>
        </p:blipFill>
        <p:spPr>
          <a:xfrm>
            <a:off x="1854559" y="1363555"/>
            <a:ext cx="8682506" cy="438267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652592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76896"/>
            <a:ext cx="12192000" cy="553998"/>
          </a:xfrm>
        </p:spPr>
        <p:txBody>
          <a:bodyPr wrap="square" anchor="t">
            <a:normAutofit/>
          </a:bodyPr>
          <a:lstStyle/>
          <a:p>
            <a:pPr algn="ctr"/>
            <a:r>
              <a:rPr lang="en-US"/>
              <a:t>Hierarchy Design Recommenda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3348609"/>
          </a:xfrm>
        </p:spPr>
        <p:txBody>
          <a:bodyPr/>
          <a:lstStyle/>
          <a:p>
            <a:r>
              <a:rPr lang="en-US" sz="2000" spc="-50">
                <a:ln w="3175">
                  <a:noFill/>
                </a:ln>
                <a:latin typeface="+mj-lt"/>
              </a:rPr>
              <a:t>Avoid organizing for billing purposes</a:t>
            </a:r>
          </a:p>
          <a:p>
            <a:r>
              <a:rPr lang="en-US" sz="2000" spc="-50">
                <a:ln w="3175">
                  <a:noFill/>
                </a:ln>
                <a:latin typeface="+mj-lt"/>
              </a:rPr>
              <a:t>Keep the management group hierarchy flat (3-4 levels)</a:t>
            </a:r>
          </a:p>
          <a:p>
            <a:r>
              <a:rPr lang="en-US" sz="2000" spc="-50">
                <a:ln w="3175">
                  <a:noFill/>
                </a:ln>
                <a:latin typeface="+mj-lt"/>
              </a:rPr>
              <a:t>Focus on organizing based upon Azure Policy Assignments </a:t>
            </a:r>
            <a:r>
              <a:rPr lang="en-US" sz="1400" spc="-50">
                <a:ln w="3175">
                  <a:noFill/>
                </a:ln>
                <a:latin typeface="+mj-lt"/>
              </a:rPr>
              <a:t>(restrict public IP on internal workloads, prod/non-prod naming conventions, etc.)</a:t>
            </a:r>
          </a:p>
          <a:p>
            <a:r>
              <a:rPr lang="en-US" sz="2000" spc="-50">
                <a:ln w="3175">
                  <a:noFill/>
                </a:ln>
                <a:latin typeface="+mj-lt"/>
              </a:rPr>
              <a:t>Utilize a sandbox management group</a:t>
            </a:r>
          </a:p>
          <a:p>
            <a:r>
              <a:rPr lang="en-US" sz="2000" spc="-50">
                <a:ln w="3175">
                  <a:noFill/>
                </a:ln>
                <a:latin typeface="+mj-lt"/>
              </a:rPr>
              <a:t>Limit Policy assignments made at the root management group</a:t>
            </a:r>
          </a:p>
          <a:p>
            <a:r>
              <a:rPr lang="en-US" sz="2000" spc="-50">
                <a:ln w="3175">
                  <a:noFill/>
                </a:ln>
                <a:latin typeface="+mj-lt"/>
              </a:rPr>
              <a:t>Configure a default management group for new subscriptions</a:t>
            </a:r>
          </a:p>
          <a:p>
            <a:r>
              <a:rPr lang="en-US" sz="2000" spc="-50">
                <a:ln w="3175">
                  <a:noFill/>
                </a:ln>
                <a:latin typeface="+mj-lt"/>
              </a:rPr>
              <a:t>Create management groups to represent regulatory workloads </a:t>
            </a:r>
            <a:r>
              <a:rPr lang="en-US" sz="1400" spc="-50">
                <a:ln w="3175">
                  <a:noFill/>
                </a:ln>
                <a:latin typeface="+mj-lt"/>
              </a:rPr>
              <a:t>(GDPR, region-locked, etc.)</a:t>
            </a:r>
          </a:p>
          <a:p>
            <a:endParaRPr lang="en-US"/>
          </a:p>
        </p:txBody>
      </p:sp>
      <p:cxnSp>
        <p:nvCxnSpPr>
          <p:cNvPr id="4" name="Straight Connector 3">
            <a:extLst>
              <a:ext uri="{FF2B5EF4-FFF2-40B4-BE49-F238E27FC236}">
                <a16:creationId xmlns:a16="http://schemas.microsoft.com/office/drawing/2014/main" id="{D7C64E57-730E-4DCC-AD6D-D51197042F2F}"/>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2150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6" end="6"/>
                                            </p:txEl>
                                          </p:spTgt>
                                        </p:tgtEl>
                                        <p:attrNameLst>
                                          <p:attrName>style.visibility</p:attrName>
                                        </p:attrNameLst>
                                      </p:cBhvr>
                                      <p:to>
                                        <p:strVal val="visible"/>
                                      </p:to>
                                    </p:set>
                                    <p:animEffect transition="in" filter="fade">
                                      <p:cBhvr>
                                        <p:cTn id="37" dur="500"/>
                                        <p:tgtEl>
                                          <p:spTgt spid="1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1D67ACEB-DBC4-4D01-9DF9-D5BDAF5B1629}"/>
              </a:ext>
            </a:extLst>
          </p:cNvPr>
          <p:cNvSpPr/>
          <p:nvPr/>
        </p:nvSpPr>
        <p:spPr bwMode="auto">
          <a:xfrm>
            <a:off x="409177" y="1096693"/>
            <a:ext cx="6652283" cy="29718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Management Group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Management Group Hierarch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Subscription Organization and Governanc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 Quota and Capacit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Enterprise Scale Landing Zon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ession Summar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Next Steps</a:t>
            </a:r>
            <a:endParaRPr lang="en-US" sz="2000" spc="-50">
              <a:ln w="3175">
                <a:noFill/>
              </a:ln>
              <a:solidFill>
                <a:schemeClr val="tx1"/>
              </a:solidFill>
              <a:latin typeface="+mj-lt"/>
              <a:cs typeface="Segoe UI" pitchFamily="34" charset="0"/>
            </a:endParaRPr>
          </a:p>
        </p:txBody>
      </p:sp>
    </p:spTree>
    <p:extLst>
      <p:ext uri="{BB962C8B-B14F-4D97-AF65-F5344CB8AC3E}">
        <p14:creationId xmlns:p14="http://schemas.microsoft.com/office/powerpoint/2010/main" val="14066825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1D67ACEB-DBC4-4D01-9DF9-D5BDAF5B1629}"/>
              </a:ext>
            </a:extLst>
          </p:cNvPr>
          <p:cNvSpPr/>
          <p:nvPr/>
        </p:nvSpPr>
        <p:spPr bwMode="auto">
          <a:xfrm>
            <a:off x="409177" y="1096693"/>
            <a:ext cx="6652283" cy="29718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Management Group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Management Group Hierarch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 Organization and Governanc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Subscription Quota and Capacit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Enterprise Scale Landing Zon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ession Summar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Next Steps</a:t>
            </a:r>
            <a:endParaRPr lang="en-US" sz="2000" spc="-50">
              <a:ln w="3175">
                <a:noFill/>
              </a:ln>
              <a:solidFill>
                <a:schemeClr val="tx1"/>
              </a:solidFill>
              <a:latin typeface="+mj-lt"/>
              <a:cs typeface="Segoe UI" pitchFamily="34" charset="0"/>
            </a:endParaRPr>
          </a:p>
        </p:txBody>
      </p:sp>
    </p:spTree>
    <p:extLst>
      <p:ext uri="{BB962C8B-B14F-4D97-AF65-F5344CB8AC3E}">
        <p14:creationId xmlns:p14="http://schemas.microsoft.com/office/powerpoint/2010/main" val="283140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199623"/>
            <a:ext cx="12192000" cy="553998"/>
          </a:xfrm>
        </p:spPr>
        <p:txBody>
          <a:bodyPr wrap="square" anchor="t">
            <a:normAutofit/>
          </a:bodyPr>
          <a:lstStyle/>
          <a:p>
            <a:pPr algn="ctr"/>
            <a:r>
              <a:rPr lang="en-US"/>
              <a:t>Quota and Capacity</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2133600"/>
            <a:ext cx="11018838" cy="2326791"/>
          </a:xfrm>
        </p:spPr>
        <p:txBody>
          <a:bodyPr/>
          <a:lstStyle/>
          <a:p>
            <a:r>
              <a:rPr lang="en-US" b="0" i="0">
                <a:solidFill>
                  <a:srgbClr val="E6E6E6"/>
                </a:solidFill>
                <a:effectLst/>
                <a:latin typeface="Segoe UI" panose="020B0502040204020203" pitchFamily="34" charset="0"/>
              </a:rPr>
              <a:t>Each Azure region contains a finite number of resources</a:t>
            </a:r>
          </a:p>
          <a:p>
            <a:r>
              <a:rPr lang="en-US" b="0" i="0">
                <a:solidFill>
                  <a:srgbClr val="E6E6E6"/>
                </a:solidFill>
                <a:effectLst/>
                <a:latin typeface="Segoe UI" panose="020B0502040204020203" pitchFamily="34" charset="0"/>
              </a:rPr>
              <a:t>Consider limits and quotas within the Azure platform for each service that your workloads require</a:t>
            </a:r>
            <a:endParaRPr lang="en-US">
              <a:solidFill>
                <a:srgbClr val="E6E6E6"/>
              </a:solidFill>
              <a:latin typeface="Segoe UI" panose="020B0502040204020203" pitchFamily="34" charset="0"/>
            </a:endParaRPr>
          </a:p>
          <a:p>
            <a:r>
              <a:rPr lang="en-US" b="0" i="0">
                <a:solidFill>
                  <a:srgbClr val="E6E6E6"/>
                </a:solidFill>
                <a:effectLst/>
                <a:latin typeface="Segoe UI" panose="020B0502040204020203" pitchFamily="34" charset="0"/>
              </a:rPr>
              <a:t>Consider limits and quotas within the Azure platform for each service that your workloads require</a:t>
            </a:r>
            <a:endParaRPr lang="en-US"/>
          </a:p>
        </p:txBody>
      </p:sp>
      <p:cxnSp>
        <p:nvCxnSpPr>
          <p:cNvPr id="4" name="Straight Connector 3">
            <a:extLst>
              <a:ext uri="{FF2B5EF4-FFF2-40B4-BE49-F238E27FC236}">
                <a16:creationId xmlns:a16="http://schemas.microsoft.com/office/drawing/2014/main" id="{86B40497-E37A-4F7E-95C8-89709049A388}"/>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054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693649C-8682-4A82-9350-B16B76D56128}"/>
              </a:ext>
            </a:extLst>
          </p:cNvPr>
          <p:cNvSpPr txBox="1">
            <a:spLocks noGrp="1"/>
          </p:cNvSpPr>
          <p:nvPr>
            <p:ph type="title" idx="4294967295"/>
          </p:nvPr>
        </p:nvSpPr>
        <p:spPr>
          <a:xfrm>
            <a:off x="292608" y="487121"/>
            <a:ext cx="11899392" cy="49847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b="0" i="0" u="none" strike="noStrike" kern="1200" cap="none" spc="-50" normalizeH="0" baseline="0" noProof="0">
                <a:ln>
                  <a:noFill/>
                </a:ln>
                <a:solidFill>
                  <a:schemeClr val="tx1"/>
                </a:solidFill>
                <a:effectLst/>
                <a:uLnTx/>
                <a:uFillTx/>
                <a:latin typeface="+mj-lt"/>
                <a:ea typeface="+mn-ea"/>
                <a:cs typeface="+mn-cs"/>
              </a:rPr>
              <a:t>Agenda</a:t>
            </a:r>
          </a:p>
        </p:txBody>
      </p:sp>
      <p:sp>
        <p:nvSpPr>
          <p:cNvPr id="42" name="Rectangle 41">
            <a:extLst>
              <a:ext uri="{FF2B5EF4-FFF2-40B4-BE49-F238E27FC236}">
                <a16:creationId xmlns:a16="http://schemas.microsoft.com/office/drawing/2014/main" id="{1D67ACEB-DBC4-4D01-9DF9-D5BDAF5B1629}"/>
              </a:ext>
            </a:extLst>
          </p:cNvPr>
          <p:cNvSpPr/>
          <p:nvPr/>
        </p:nvSpPr>
        <p:spPr bwMode="auto">
          <a:xfrm>
            <a:off x="475950" y="1766107"/>
            <a:ext cx="6652283" cy="33257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Management Group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Management Group Hierarch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Subscrip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Subscription Organization and Governanc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Subscription Quota and Capacit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Enterprise Scale Landing Zon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Session Summar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Next Steps</a:t>
            </a:r>
          </a:p>
          <a:p>
            <a:pPr marL="342900" marR="0" lvl="0" indent="-342900" defTabSz="914102" fontAlgn="base">
              <a:lnSpc>
                <a:spcPct val="90000"/>
              </a:lnSpc>
              <a:spcBef>
                <a:spcPts val="588"/>
              </a:spcBef>
              <a:spcAft>
                <a:spcPct val="0"/>
              </a:spcAft>
              <a:buClrTx/>
              <a:buSzTx/>
              <a:buFont typeface="Arial" panose="020B0604020202020204" pitchFamily="34" charset="0"/>
              <a:buChar char="•"/>
              <a:tabLst/>
              <a:defRPr/>
            </a:pPr>
            <a:endParaRPr lang="en-US" sz="2000" spc="-50">
              <a:ln w="3175">
                <a:noFill/>
              </a:ln>
              <a:solidFill>
                <a:schemeClr val="tx1"/>
              </a:solidFill>
              <a:latin typeface="+mj-lt"/>
              <a:cs typeface="Segoe UI" pitchFamily="34" charset="0"/>
            </a:endParaRPr>
          </a:p>
        </p:txBody>
      </p:sp>
      <p:sp>
        <p:nvSpPr>
          <p:cNvPr id="9" name="Rectangle 8">
            <a:extLst>
              <a:ext uri="{FF2B5EF4-FFF2-40B4-BE49-F238E27FC236}">
                <a16:creationId xmlns:a16="http://schemas.microsoft.com/office/drawing/2014/main" id="{858B04AE-75A2-4FC4-B3B1-411F3E49A071}"/>
              </a:ext>
            </a:extLst>
          </p:cNvPr>
          <p:cNvSpPr/>
          <p:nvPr/>
        </p:nvSpPr>
        <p:spPr bwMode="auto">
          <a:xfrm>
            <a:off x="1502102" y="2197878"/>
            <a:ext cx="1799695" cy="4933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t" anchorCtr="0" forceAA="0" compatLnSpc="1">
            <a:prstTxWarp prst="textNoShape">
              <a:avLst/>
            </a:prstTxWarp>
            <a:noAutofit/>
          </a:bodyPr>
          <a:lstStyle/>
          <a:p>
            <a:pPr marL="0" marR="0" lvl="0" indent="0" algn="ctr" defTabSz="896042" rtl="0" eaLnBrk="1" fontAlgn="auto" latinLnBrk="0" hangingPunct="1">
              <a:lnSpc>
                <a:spcPct val="90000"/>
              </a:lnSpc>
              <a:spcBef>
                <a:spcPts val="0"/>
              </a:spcBef>
              <a:spcAft>
                <a:spcPts val="1200"/>
              </a:spcAft>
              <a:buClrTx/>
              <a:buSzTx/>
              <a:buFontTx/>
              <a:buNone/>
              <a:tabLst/>
              <a:defRPr/>
            </a:pPr>
            <a:r>
              <a:rPr kumimoji="0" lang="en-US" sz="1200" b="1" i="0" u="none" strike="noStrike" kern="0" cap="none" spc="0" normalizeH="0" baseline="0" noProof="0">
                <a:ln>
                  <a:noFill/>
                </a:ln>
                <a:solidFill>
                  <a:schemeClr val="bg1"/>
                </a:solidFill>
                <a:effectLst/>
                <a:uLnTx/>
                <a:uFillTx/>
                <a:ea typeface="+mn-ea"/>
                <a:cs typeface="+mn-cs"/>
              </a:rPr>
              <a:t>Identity</a:t>
            </a:r>
            <a:endParaRPr kumimoji="0" lang="en-US" sz="1800" b="1" i="0" u="none" strike="noStrike" kern="0" cap="none" spc="0" normalizeH="0" baseline="0" noProof="0">
              <a:ln>
                <a:noFill/>
              </a:ln>
              <a:solidFill>
                <a:schemeClr val="bg1"/>
              </a:solidFill>
              <a:effectLst/>
              <a:uLnTx/>
              <a:uFillTx/>
              <a:ea typeface="+mn-ea"/>
              <a:cs typeface="+mn-cs"/>
            </a:endParaRPr>
          </a:p>
        </p:txBody>
      </p:sp>
    </p:spTree>
    <p:extLst>
      <p:ext uri="{BB962C8B-B14F-4D97-AF65-F5344CB8AC3E}">
        <p14:creationId xmlns:p14="http://schemas.microsoft.com/office/powerpoint/2010/main" val="36753539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1D67ACEB-DBC4-4D01-9DF9-D5BDAF5B1629}"/>
              </a:ext>
            </a:extLst>
          </p:cNvPr>
          <p:cNvSpPr/>
          <p:nvPr/>
        </p:nvSpPr>
        <p:spPr bwMode="auto">
          <a:xfrm>
            <a:off x="409177" y="1096693"/>
            <a:ext cx="6652283" cy="29718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Management Group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Management Group Hierarch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 Organization and Governanc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 Quota and Capacit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Enterprise Scale Landing Zon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ession Summar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Next Steps</a:t>
            </a:r>
            <a:endParaRPr lang="en-US" sz="2000" spc="-50">
              <a:ln w="3175">
                <a:noFill/>
              </a:ln>
              <a:solidFill>
                <a:schemeClr val="tx1"/>
              </a:solidFill>
              <a:latin typeface="+mj-lt"/>
              <a:cs typeface="Segoe UI" pitchFamily="34" charset="0"/>
            </a:endParaRPr>
          </a:p>
        </p:txBody>
      </p:sp>
    </p:spTree>
    <p:extLst>
      <p:ext uri="{BB962C8B-B14F-4D97-AF65-F5344CB8AC3E}">
        <p14:creationId xmlns:p14="http://schemas.microsoft.com/office/powerpoint/2010/main" val="3923618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144246"/>
            <a:ext cx="12192000" cy="553998"/>
          </a:xfrm>
        </p:spPr>
        <p:txBody>
          <a:bodyPr wrap="square" anchor="t">
            <a:normAutofit/>
          </a:bodyPr>
          <a:lstStyle/>
          <a:p>
            <a:pPr algn="ctr"/>
            <a:r>
              <a:rPr lang="en-US"/>
              <a:t>Enterprise Scale Landing Zone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203898" y="1614081"/>
            <a:ext cx="5350365" cy="3816429"/>
          </a:xfrm>
        </p:spPr>
        <p:txBody>
          <a:bodyPr/>
          <a:lstStyle/>
          <a:p>
            <a:r>
              <a:rPr lang="en-US" sz="2000" b="0" i="0">
                <a:solidFill>
                  <a:srgbClr val="E6E6E6"/>
                </a:solidFill>
                <a:effectLst/>
                <a:latin typeface="Segoe UI" panose="020B0502040204020203" pitchFamily="34" charset="0"/>
              </a:rPr>
              <a:t>A landing zone is an environment for hosting your workloads</a:t>
            </a:r>
          </a:p>
          <a:p>
            <a:r>
              <a:rPr lang="en-US" sz="2000" b="0" i="0">
                <a:solidFill>
                  <a:srgbClr val="E6E6E6"/>
                </a:solidFill>
                <a:effectLst/>
                <a:latin typeface="Segoe UI" panose="020B0502040204020203" pitchFamily="34" charset="0"/>
              </a:rPr>
              <a:t>Azure landing zones enable application </a:t>
            </a:r>
          </a:p>
          <a:p>
            <a:pPr lvl="1"/>
            <a:r>
              <a:rPr lang="en-US" b="0" i="0">
                <a:solidFill>
                  <a:srgbClr val="E6E6E6"/>
                </a:solidFill>
                <a:effectLst/>
                <a:latin typeface="Segoe UI" panose="020B0502040204020203" pitchFamily="34" charset="0"/>
              </a:rPr>
              <a:t>migration</a:t>
            </a:r>
          </a:p>
          <a:p>
            <a:pPr lvl="1"/>
            <a:r>
              <a:rPr lang="en-US" b="0" i="0">
                <a:solidFill>
                  <a:srgbClr val="E6E6E6"/>
                </a:solidFill>
                <a:effectLst/>
                <a:latin typeface="Segoe UI" panose="020B0502040204020203" pitchFamily="34" charset="0"/>
              </a:rPr>
              <a:t>modernization</a:t>
            </a:r>
          </a:p>
          <a:p>
            <a:pPr lvl="1"/>
            <a:r>
              <a:rPr lang="en-US" b="0" i="0">
                <a:solidFill>
                  <a:srgbClr val="E6E6E6"/>
                </a:solidFill>
                <a:effectLst/>
                <a:latin typeface="Segoe UI" panose="020B0502040204020203" pitchFamily="34" charset="0"/>
              </a:rPr>
              <a:t>Innovation</a:t>
            </a:r>
          </a:p>
          <a:p>
            <a:r>
              <a:rPr lang="en-US" sz="2000" b="0" i="0">
                <a:solidFill>
                  <a:srgbClr val="E6E6E6"/>
                </a:solidFill>
                <a:effectLst/>
                <a:latin typeface="Segoe UI" panose="020B0502040204020203" pitchFamily="34" charset="0"/>
              </a:rPr>
              <a:t>Landing zones consider all platform resources required to support the application portfolio</a:t>
            </a:r>
          </a:p>
          <a:p>
            <a:r>
              <a:rPr lang="en-US" sz="2000">
                <a:solidFill>
                  <a:srgbClr val="E6E6E6"/>
                </a:solidFill>
                <a:latin typeface="Segoe UI" panose="020B0502040204020203" pitchFamily="34" charset="0"/>
              </a:rPr>
              <a:t>Scalable and Modular</a:t>
            </a:r>
          </a:p>
          <a:p>
            <a:endParaRPr lang="en-US" sz="2000">
              <a:solidFill>
                <a:srgbClr val="E6E6E6"/>
              </a:solidFill>
              <a:latin typeface="Segoe UI" panose="020B0502040204020203" pitchFamily="34" charset="0"/>
            </a:endParaRPr>
          </a:p>
        </p:txBody>
      </p:sp>
      <p:pic>
        <p:nvPicPr>
          <p:cNvPr id="1026" name="Picture 2" descr="Graphical user interface, application&#10;&#10;Description automatically generated">
            <a:extLst>
              <a:ext uri="{FF2B5EF4-FFF2-40B4-BE49-F238E27FC236}">
                <a16:creationId xmlns:a16="http://schemas.microsoft.com/office/drawing/2014/main" id="{5CCD62C3-BC47-4553-B569-3A7335C53E8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34567" y="2062790"/>
            <a:ext cx="6355498" cy="24170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5" name="Straight Connector 4">
            <a:extLst>
              <a:ext uri="{FF2B5EF4-FFF2-40B4-BE49-F238E27FC236}">
                <a16:creationId xmlns:a16="http://schemas.microsoft.com/office/drawing/2014/main" id="{250BD174-E260-41B7-92F1-8D0BEDF90DCB}"/>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3358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xEl>
                                              <p:pRg st="5" end="5"/>
                                            </p:txEl>
                                          </p:spTgt>
                                        </p:tgtEl>
                                        <p:attrNameLst>
                                          <p:attrName>style.visibility</p:attrName>
                                        </p:attrNameLst>
                                      </p:cBhvr>
                                      <p:to>
                                        <p:strVal val="visible"/>
                                      </p:to>
                                    </p:set>
                                    <p:animEffect transition="in" filter="fade">
                                      <p:cBhvr>
                                        <p:cTn id="32" dur="500"/>
                                        <p:tgtEl>
                                          <p:spTgt spid="1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xEl>
                                              <p:pRg st="6" end="6"/>
                                            </p:txEl>
                                          </p:spTgt>
                                        </p:tgtEl>
                                        <p:attrNameLst>
                                          <p:attrName>style.visibility</p:attrName>
                                        </p:attrNameLst>
                                      </p:cBhvr>
                                      <p:to>
                                        <p:strVal val="visible"/>
                                      </p:to>
                                    </p:set>
                                    <p:animEffect transition="in" filter="fade">
                                      <p:cBhvr>
                                        <p:cTn id="37" dur="500"/>
                                        <p:tgtEl>
                                          <p:spTgt spid="1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1" y="212501"/>
            <a:ext cx="12192000" cy="553998"/>
          </a:xfrm>
        </p:spPr>
        <p:txBody>
          <a:bodyPr wrap="square" anchor="t">
            <a:normAutofit/>
          </a:bodyPr>
          <a:lstStyle/>
          <a:p>
            <a:pPr algn="ctr"/>
            <a:r>
              <a:rPr lang="en-US"/>
              <a:t>ESLZ for 50 Workloads</a:t>
            </a:r>
          </a:p>
        </p:txBody>
      </p:sp>
      <p:pic>
        <p:nvPicPr>
          <p:cNvPr id="3" name="Picture 2">
            <a:extLst>
              <a:ext uri="{FF2B5EF4-FFF2-40B4-BE49-F238E27FC236}">
                <a16:creationId xmlns:a16="http://schemas.microsoft.com/office/drawing/2014/main" id="{E52D8B1B-74BE-4EEA-A407-31D004B016BB}"/>
              </a:ext>
            </a:extLst>
          </p:cNvPr>
          <p:cNvPicPr>
            <a:picLocks noChangeAspect="1"/>
          </p:cNvPicPr>
          <p:nvPr/>
        </p:nvPicPr>
        <p:blipFill>
          <a:blip r:embed="rId2"/>
          <a:stretch>
            <a:fillRect/>
          </a:stretch>
        </p:blipFill>
        <p:spPr>
          <a:xfrm>
            <a:off x="588263" y="1179677"/>
            <a:ext cx="7697274" cy="5601482"/>
          </a:xfrm>
          <a:prstGeom prst="rect">
            <a:avLst/>
          </a:prstGeom>
        </p:spPr>
      </p:pic>
    </p:spTree>
    <p:extLst>
      <p:ext uri="{BB962C8B-B14F-4D97-AF65-F5344CB8AC3E}">
        <p14:creationId xmlns:p14="http://schemas.microsoft.com/office/powerpoint/2010/main" val="1249305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AF0CB4A-7564-4F5B-9E80-5EB2A30E3BC4}"/>
              </a:ext>
            </a:extLst>
          </p:cNvPr>
          <p:cNvPicPr>
            <a:picLocks noChangeAspect="1"/>
          </p:cNvPicPr>
          <p:nvPr/>
        </p:nvPicPr>
        <p:blipFill rotWithShape="1">
          <a:blip r:embed="rId3"/>
          <a:srcRect l="5224"/>
          <a:stretch/>
        </p:blipFill>
        <p:spPr>
          <a:xfrm>
            <a:off x="588263" y="1313437"/>
            <a:ext cx="8147203" cy="5351188"/>
          </a:xfrm>
          <a:prstGeom prst="rect">
            <a:avLst/>
          </a:prstGeom>
          <a:noFill/>
        </p:spPr>
      </p:pic>
      <p:sp>
        <p:nvSpPr>
          <p:cNvPr id="7" name="Title 1">
            <a:extLst>
              <a:ext uri="{FF2B5EF4-FFF2-40B4-BE49-F238E27FC236}">
                <a16:creationId xmlns:a16="http://schemas.microsoft.com/office/drawing/2014/main" id="{236F2BB0-A83B-4E44-A200-EC57E99D7988}"/>
              </a:ext>
            </a:extLst>
          </p:cNvPr>
          <p:cNvSpPr txBox="1">
            <a:spLocks/>
          </p:cNvSpPr>
          <p:nvPr/>
        </p:nvSpPr>
        <p:spPr>
          <a:xfrm>
            <a:off x="1" y="212501"/>
            <a:ext cx="12192000" cy="553998"/>
          </a:xfrm>
          <a:prstGeom prst="rect">
            <a:avLst/>
          </a:prstGeom>
        </p:spPr>
        <p:txBody>
          <a:bodyPr vert="horz" wrap="square" lIns="0" tIns="0" rIns="0" bIns="0" rtlCol="0" anchor="t">
            <a:normAutofit/>
          </a:bodyPr>
          <a:lst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r>
              <a:rPr lang="en-US"/>
              <a:t>ESLZ for 100 Workloads</a:t>
            </a:r>
          </a:p>
        </p:txBody>
      </p:sp>
    </p:spTree>
    <p:extLst>
      <p:ext uri="{BB962C8B-B14F-4D97-AF65-F5344CB8AC3E}">
        <p14:creationId xmlns:p14="http://schemas.microsoft.com/office/powerpoint/2010/main" val="1731211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44CABA-227F-4321-A7A4-61E189AF9F94}"/>
              </a:ext>
            </a:extLst>
          </p:cNvPr>
          <p:cNvPicPr>
            <a:picLocks noChangeAspect="1"/>
          </p:cNvPicPr>
          <p:nvPr/>
        </p:nvPicPr>
        <p:blipFill>
          <a:blip r:embed="rId3"/>
          <a:stretch>
            <a:fillRect/>
          </a:stretch>
        </p:blipFill>
        <p:spPr>
          <a:xfrm>
            <a:off x="588263" y="1199511"/>
            <a:ext cx="10326541" cy="5515745"/>
          </a:xfrm>
          <a:prstGeom prst="rect">
            <a:avLst/>
          </a:prstGeom>
        </p:spPr>
      </p:pic>
      <p:sp>
        <p:nvSpPr>
          <p:cNvPr id="7" name="Title 1">
            <a:extLst>
              <a:ext uri="{FF2B5EF4-FFF2-40B4-BE49-F238E27FC236}">
                <a16:creationId xmlns:a16="http://schemas.microsoft.com/office/drawing/2014/main" id="{3A59C9C5-A788-4A75-B606-6EEF01410E26}"/>
              </a:ext>
            </a:extLst>
          </p:cNvPr>
          <p:cNvSpPr>
            <a:spLocks noGrp="1"/>
          </p:cNvSpPr>
          <p:nvPr>
            <p:ph type="title"/>
          </p:nvPr>
        </p:nvSpPr>
        <p:spPr>
          <a:xfrm>
            <a:off x="1" y="212501"/>
            <a:ext cx="12192000" cy="553998"/>
          </a:xfrm>
        </p:spPr>
        <p:txBody>
          <a:bodyPr wrap="square" anchor="t">
            <a:normAutofit/>
          </a:bodyPr>
          <a:lstStyle/>
          <a:p>
            <a:pPr algn="ctr"/>
            <a:r>
              <a:rPr lang="en-US"/>
              <a:t>ESLZ for 200 Workloads</a:t>
            </a:r>
          </a:p>
        </p:txBody>
      </p:sp>
    </p:spTree>
    <p:extLst>
      <p:ext uri="{BB962C8B-B14F-4D97-AF65-F5344CB8AC3E}">
        <p14:creationId xmlns:p14="http://schemas.microsoft.com/office/powerpoint/2010/main" val="2110403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A75442-D3B0-437D-9906-09BCBB12F42B}"/>
              </a:ext>
            </a:extLst>
          </p:cNvPr>
          <p:cNvPicPr>
            <a:picLocks noChangeAspect="1"/>
          </p:cNvPicPr>
          <p:nvPr/>
        </p:nvPicPr>
        <p:blipFill>
          <a:blip r:embed="rId3"/>
          <a:stretch>
            <a:fillRect/>
          </a:stretch>
        </p:blipFill>
        <p:spPr>
          <a:xfrm>
            <a:off x="588263" y="1132740"/>
            <a:ext cx="10517068" cy="5268060"/>
          </a:xfrm>
          <a:prstGeom prst="rect">
            <a:avLst/>
          </a:prstGeom>
        </p:spPr>
      </p:pic>
      <p:sp>
        <p:nvSpPr>
          <p:cNvPr id="9" name="Title 1">
            <a:extLst>
              <a:ext uri="{FF2B5EF4-FFF2-40B4-BE49-F238E27FC236}">
                <a16:creationId xmlns:a16="http://schemas.microsoft.com/office/drawing/2014/main" id="{A1881F13-E206-4D41-8D8A-9A21C5889D1A}"/>
              </a:ext>
            </a:extLst>
          </p:cNvPr>
          <p:cNvSpPr>
            <a:spLocks noGrp="1"/>
          </p:cNvSpPr>
          <p:nvPr>
            <p:ph type="title"/>
          </p:nvPr>
        </p:nvSpPr>
        <p:spPr>
          <a:xfrm>
            <a:off x="1" y="212501"/>
            <a:ext cx="12192000" cy="553998"/>
          </a:xfrm>
        </p:spPr>
        <p:txBody>
          <a:bodyPr wrap="square" anchor="t">
            <a:normAutofit/>
          </a:bodyPr>
          <a:lstStyle/>
          <a:p>
            <a:pPr algn="ctr"/>
            <a:r>
              <a:rPr lang="en-US"/>
              <a:t>ESLZ for 10000 Workloads</a:t>
            </a:r>
          </a:p>
        </p:txBody>
      </p:sp>
    </p:spTree>
    <p:extLst>
      <p:ext uri="{BB962C8B-B14F-4D97-AF65-F5344CB8AC3E}">
        <p14:creationId xmlns:p14="http://schemas.microsoft.com/office/powerpoint/2010/main" val="198130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230522"/>
            <a:ext cx="12192000" cy="553998"/>
          </a:xfrm>
        </p:spPr>
        <p:txBody>
          <a:bodyPr wrap="square" anchor="t">
            <a:normAutofit/>
          </a:bodyPr>
          <a:lstStyle/>
          <a:p>
            <a:pPr algn="ctr"/>
            <a:r>
              <a:rPr lang="en-US"/>
              <a:t>Summary</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0"/>
          </p:nvPr>
        </p:nvSpPr>
        <p:spPr>
          <a:xfrm>
            <a:off x="586581" y="1803939"/>
            <a:ext cx="11018838" cy="3619452"/>
          </a:xfrm>
        </p:spPr>
        <p:txBody>
          <a:bodyPr/>
          <a:lstStyle/>
          <a:p>
            <a:r>
              <a:rPr lang="en-US" sz="2400"/>
              <a:t>Treat subscriptions as a democratized unit of management aligned with business needs and priorities.</a:t>
            </a:r>
          </a:p>
          <a:p>
            <a:r>
              <a:rPr lang="en-US" sz="2400"/>
              <a:t>Keep the management group hierarchy reasonably flat, with no more than three to four levels ideally</a:t>
            </a:r>
          </a:p>
          <a:p>
            <a:r>
              <a:rPr lang="en-US" sz="2400"/>
              <a:t>Consider limits and quotas within the Azure platform for each service that your workloads require.</a:t>
            </a:r>
          </a:p>
          <a:p>
            <a:r>
              <a:rPr lang="en-US" sz="2400" b="0" i="0">
                <a:solidFill>
                  <a:srgbClr val="E6E6E6"/>
                </a:solidFill>
                <a:effectLst/>
              </a:rPr>
              <a:t>Use reserved instances to prioritize reserved capacity in required regions.</a:t>
            </a:r>
          </a:p>
          <a:p>
            <a:pPr algn="l">
              <a:buFont typeface="Arial" panose="020B0604020202020204" pitchFamily="34" charset="0"/>
              <a:buChar char="•"/>
            </a:pPr>
            <a:r>
              <a:rPr lang="en-US" sz="2400" b="0" i="0">
                <a:solidFill>
                  <a:srgbClr val="E6E6E6"/>
                </a:solidFill>
                <a:effectLst/>
                <a:latin typeface="Segoe UI" panose="020B0502040204020203" pitchFamily="34" charset="0"/>
              </a:rPr>
              <a:t>Use Azure Cost Management + Billing to aggregate costs. Make it available to application owners.</a:t>
            </a:r>
          </a:p>
        </p:txBody>
      </p:sp>
      <p:cxnSp>
        <p:nvCxnSpPr>
          <p:cNvPr id="4" name="Straight Connector 3">
            <a:extLst>
              <a:ext uri="{FF2B5EF4-FFF2-40B4-BE49-F238E27FC236}">
                <a16:creationId xmlns:a16="http://schemas.microsoft.com/office/drawing/2014/main" id="{91609873-DC85-4475-BB02-180372120ED5}"/>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9524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animEffect transition="in" filter="fade">
                                      <p:cBhvr>
                                        <p:cTn id="27" dur="500"/>
                                        <p:tgtEl>
                                          <p:spTgt spid="1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CBDA016-1A10-4C16-A83E-FE5F4D9C5722}"/>
              </a:ext>
            </a:extLst>
          </p:cNvPr>
          <p:cNvSpPr>
            <a:spLocks noGrp="1"/>
          </p:cNvSpPr>
          <p:nvPr>
            <p:ph type="title"/>
          </p:nvPr>
        </p:nvSpPr>
        <p:spPr>
          <a:xfrm>
            <a:off x="1464995" y="3152000"/>
            <a:ext cx="5400753" cy="553998"/>
          </a:xfrm>
        </p:spPr>
        <p:txBody>
          <a:bodyPr/>
          <a:lstStyle/>
          <a:p>
            <a:r>
              <a:rPr lang="en-US">
                <a:solidFill>
                  <a:srgbClr val="0078D4"/>
                </a:solidFill>
              </a:rPr>
              <a:t>Thank you!</a:t>
            </a:r>
          </a:p>
        </p:txBody>
      </p:sp>
      <p:pic>
        <p:nvPicPr>
          <p:cNvPr id="3" name="Picture 2" descr="Microsoft Azure – Apps bei Google Play">
            <a:extLst>
              <a:ext uri="{FF2B5EF4-FFF2-40B4-BE49-F238E27FC236}">
                <a16:creationId xmlns:a16="http://schemas.microsoft.com/office/drawing/2014/main" id="{028EE6F0-296D-4659-93EB-10DD87D3E3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56120" y="1850890"/>
            <a:ext cx="3156220" cy="3156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9880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3.33333E-6 0 L 3.33333E-6 0.04051 " pathEditMode="relative" rAng="0" ptsTypes="AA">
                                      <p:cBhvr>
                                        <p:cTn id="9" dur="750" spd="-100000" fill="hold"/>
                                        <p:tgtEl>
                                          <p:spTgt spid="2"/>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1D67ACEB-DBC4-4D01-9DF9-D5BDAF5B1629}"/>
              </a:ext>
            </a:extLst>
          </p:cNvPr>
          <p:cNvSpPr/>
          <p:nvPr/>
        </p:nvSpPr>
        <p:spPr bwMode="auto">
          <a:xfrm>
            <a:off x="409177" y="1096693"/>
            <a:ext cx="6652283" cy="29718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Management Group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Management Group Hierarch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 Organization and Governanc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 Quota and Capacit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Enterprise Scale Landing Zon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ession Summar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Next Steps</a:t>
            </a:r>
            <a:endParaRPr lang="en-US" sz="2000" spc="-50">
              <a:ln w="3175">
                <a:noFill/>
              </a:ln>
              <a:solidFill>
                <a:schemeClr val="tx1"/>
              </a:solidFill>
              <a:latin typeface="+mj-lt"/>
              <a:cs typeface="Segoe UI" pitchFamily="34" charset="0"/>
            </a:endParaRPr>
          </a:p>
        </p:txBody>
      </p:sp>
    </p:spTree>
    <p:extLst>
      <p:ext uri="{BB962C8B-B14F-4D97-AF65-F5344CB8AC3E}">
        <p14:creationId xmlns:p14="http://schemas.microsoft.com/office/powerpoint/2010/main" val="33083415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2FCD1D5-7367-4A24-A087-036F16148DA1}"/>
              </a:ext>
            </a:extLst>
          </p:cNvPr>
          <p:cNvSpPr>
            <a:spLocks noGrp="1"/>
          </p:cNvSpPr>
          <p:nvPr>
            <p:ph type="body" sz="quarter" idx="11"/>
          </p:nvPr>
        </p:nvSpPr>
        <p:spPr>
          <a:xfrm>
            <a:off x="4941888" y="585788"/>
            <a:ext cx="6667500" cy="5683249"/>
          </a:xfrm>
          <a:prstGeom prst="rect">
            <a:avLst/>
          </a:prstGeom>
        </p:spPr>
        <p:txBody>
          <a:bodyPr wrap="square" anchor="ctr">
            <a:normAutofit/>
          </a:bodyPr>
          <a:lstStyle/>
          <a:p>
            <a:r>
              <a:rPr lang="en-GB" sz="2400">
                <a:cs typeface="Segoe UI"/>
              </a:rPr>
              <a:t>The Azure landing zone conceptual architecture represents the strategic design path and target technical state for your Azure environment. </a:t>
            </a:r>
            <a:endParaRPr lang="en-GB" sz="2400"/>
          </a:p>
          <a:p>
            <a:pPr marL="0" indent="0">
              <a:buNone/>
            </a:pPr>
            <a:endParaRPr lang="en-GB" sz="2400"/>
          </a:p>
          <a:p>
            <a:r>
              <a:rPr lang="en-GB" sz="2400">
                <a:cs typeface="Segoe UI"/>
              </a:rPr>
              <a:t>It will continue to evolve in lockstep with the Azure platform and is ultimately defined by design decisions aligned with defined principles to safeguard your Azure journey.</a:t>
            </a:r>
          </a:p>
        </p:txBody>
      </p:sp>
      <p:sp>
        <p:nvSpPr>
          <p:cNvPr id="3" name="Title 2">
            <a:extLst>
              <a:ext uri="{FF2B5EF4-FFF2-40B4-BE49-F238E27FC236}">
                <a16:creationId xmlns:a16="http://schemas.microsoft.com/office/drawing/2014/main" id="{335FC8A3-4F45-4804-B763-6BC4E85A1C41}"/>
              </a:ext>
            </a:extLst>
          </p:cNvPr>
          <p:cNvSpPr>
            <a:spLocks noGrp="1"/>
          </p:cNvSpPr>
          <p:nvPr>
            <p:ph type="title"/>
          </p:nvPr>
        </p:nvSpPr>
        <p:spPr>
          <a:xfrm>
            <a:off x="588263" y="585788"/>
            <a:ext cx="3436482" cy="5683250"/>
          </a:xfrm>
          <a:prstGeom prst="rect">
            <a:avLst/>
          </a:prstGeom>
        </p:spPr>
        <p:txBody>
          <a:bodyPr wrap="square" anchor="ctr">
            <a:normAutofit/>
          </a:bodyPr>
          <a:lstStyle/>
          <a:p>
            <a:r>
              <a:rPr lang="en-GB"/>
              <a:t>Azure landing zone conceptual</a:t>
            </a:r>
            <a:br>
              <a:rPr lang="en-GB"/>
            </a:br>
            <a:r>
              <a:rPr lang="en-GB"/>
              <a:t>architecture</a:t>
            </a:r>
          </a:p>
        </p:txBody>
      </p:sp>
    </p:spTree>
    <p:extLst>
      <p:ext uri="{BB962C8B-B14F-4D97-AF65-F5344CB8AC3E}">
        <p14:creationId xmlns:p14="http://schemas.microsoft.com/office/powerpoint/2010/main" val="1070539773"/>
      </p:ext>
    </p:extLst>
  </p:cSld>
  <p:clrMapOvr>
    <a:masterClrMapping/>
  </p:clrMapOvr>
  <p:transition spd="slow">
    <p:push/>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77456D9-AE1B-432D-9448-095B7F36B075}"/>
              </a:ext>
            </a:extLst>
          </p:cNvPr>
          <p:cNvSpPr/>
          <p:nvPr/>
        </p:nvSpPr>
        <p:spPr bwMode="auto">
          <a:xfrm>
            <a:off x="1" y="201613"/>
            <a:ext cx="11952331" cy="877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70304" rIns="175761" bIns="140609" numCol="1" spcCol="0" rtlCol="0" fromWordArt="0" anchor="t" anchorCtr="0" forceAA="0" compatLnSpc="1">
            <a:prstTxWarp prst="textNoShape">
              <a:avLst/>
            </a:prstTxWarp>
            <a:spAutoFit/>
          </a:bodyPr>
          <a:lstStyle/>
          <a:p>
            <a:pPr marL="0" marR="0" lvl="0" indent="0" algn="l" defTabSz="896072" rtl="0" eaLnBrk="1" fontAlgn="base" latinLnBrk="0" hangingPunct="1">
              <a:lnSpc>
                <a:spcPct val="90000"/>
              </a:lnSpc>
              <a:spcBef>
                <a:spcPts val="576"/>
              </a:spcBef>
              <a:spcAft>
                <a:spcPct val="0"/>
              </a:spcAft>
              <a:buClrTx/>
              <a:buSzTx/>
              <a:buFontTx/>
              <a:buNone/>
              <a:tabLst/>
              <a:defRPr/>
            </a:pPr>
            <a:r>
              <a:rPr kumimoji="0" lang="en-US" sz="4800" b="0" i="0" u="none" strike="noStrike" kern="1200" cap="none" spc="-49" normalizeH="0" baseline="0" noProof="0" dirty="0">
                <a:ln w="3175">
                  <a:noFill/>
                </a:ln>
                <a:solidFill>
                  <a:srgbClr val="FFFFFF"/>
                </a:solidFill>
                <a:effectLst/>
                <a:uLnTx/>
                <a:uFillTx/>
                <a:latin typeface="Segoe UI Semibold"/>
                <a:ea typeface="+mn-ea"/>
                <a:cs typeface="Segoe UI" pitchFamily="34" charset="0"/>
              </a:rPr>
              <a:t>	 Azure Landing Zones</a:t>
            </a:r>
          </a:p>
        </p:txBody>
      </p:sp>
      <p:cxnSp>
        <p:nvCxnSpPr>
          <p:cNvPr id="9" name="Straight Connector 8">
            <a:extLst>
              <a:ext uri="{FF2B5EF4-FFF2-40B4-BE49-F238E27FC236}">
                <a16:creationId xmlns:a16="http://schemas.microsoft.com/office/drawing/2014/main" id="{9B5CFAC9-9710-4ED1-BF68-B57407502BD0}"/>
              </a:ext>
            </a:extLst>
          </p:cNvPr>
          <p:cNvCxnSpPr>
            <a:cxnSpLocks/>
          </p:cNvCxnSpPr>
          <p:nvPr/>
        </p:nvCxnSpPr>
        <p:spPr>
          <a:xfrm>
            <a:off x="0" y="1079383"/>
            <a:ext cx="12192000" cy="0"/>
          </a:xfrm>
          <a:prstGeom prst="line">
            <a:avLst/>
          </a:prstGeom>
          <a:ln w="44450" cap="rnd">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15" name="Graphic 114">
            <a:extLst>
              <a:ext uri="{FF2B5EF4-FFF2-40B4-BE49-F238E27FC236}">
                <a16:creationId xmlns:a16="http://schemas.microsoft.com/office/drawing/2014/main" id="{A9589FC9-3D21-4711-B4C8-EC1EA8FB745A}"/>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2781" y="156321"/>
            <a:ext cx="819712" cy="819712"/>
          </a:xfrm>
          <a:prstGeom prst="rect">
            <a:avLst/>
          </a:prstGeom>
        </p:spPr>
      </p:pic>
      <p:grpSp>
        <p:nvGrpSpPr>
          <p:cNvPr id="8" name="Group 7">
            <a:extLst>
              <a:ext uri="{FF2B5EF4-FFF2-40B4-BE49-F238E27FC236}">
                <a16:creationId xmlns:a16="http://schemas.microsoft.com/office/drawing/2014/main" id="{49703F07-6E64-4E91-8B31-D55F55E877E1}"/>
              </a:ext>
            </a:extLst>
          </p:cNvPr>
          <p:cNvGrpSpPr/>
          <p:nvPr/>
        </p:nvGrpSpPr>
        <p:grpSpPr>
          <a:xfrm>
            <a:off x="5539285" y="1286719"/>
            <a:ext cx="873762" cy="5369668"/>
            <a:chOff x="7648186" y="1484074"/>
            <a:chExt cx="873762" cy="5369668"/>
          </a:xfrm>
        </p:grpSpPr>
        <p:cxnSp>
          <p:nvCxnSpPr>
            <p:cNvPr id="57" name="Straight Connector 56">
              <a:extLst>
                <a:ext uri="{FF2B5EF4-FFF2-40B4-BE49-F238E27FC236}">
                  <a16:creationId xmlns:a16="http://schemas.microsoft.com/office/drawing/2014/main" id="{BAC61707-AAB5-4206-947C-9F3D0EA69302}"/>
                </a:ext>
                <a:ext uri="{C183D7F6-B498-43B3-948B-1728B52AA6E4}">
                  <adec:decorative xmlns:adec="http://schemas.microsoft.com/office/drawing/2017/decorative" val="1"/>
                </a:ext>
              </a:extLst>
            </p:cNvPr>
            <p:cNvCxnSpPr>
              <a:cxnSpLocks/>
            </p:cNvCxnSpPr>
            <p:nvPr/>
          </p:nvCxnSpPr>
          <p:spPr>
            <a:xfrm flipV="1">
              <a:off x="8085066" y="1484074"/>
              <a:ext cx="0" cy="5369668"/>
            </a:xfrm>
            <a:prstGeom prst="line">
              <a:avLst/>
            </a:prstGeom>
            <a:noFill/>
            <a:ln w="19050" cap="flat" cmpd="sng" algn="ctr">
              <a:solidFill>
                <a:srgbClr val="D83B01"/>
              </a:solidFill>
              <a:prstDash val="sysDash"/>
              <a:miter lim="800000"/>
              <a:headEnd type="none" w="med" len="med"/>
              <a:tailEnd type="none" w="lg" len="med"/>
            </a:ln>
            <a:effectLst/>
          </p:spPr>
        </p:cxnSp>
        <p:sp>
          <p:nvSpPr>
            <p:cNvPr id="60" name="Rectangle 59">
              <a:extLst>
                <a:ext uri="{FF2B5EF4-FFF2-40B4-BE49-F238E27FC236}">
                  <a16:creationId xmlns:a16="http://schemas.microsoft.com/office/drawing/2014/main" id="{9C5CCA22-E5E9-4625-9D3F-A49684557B8C}"/>
                </a:ext>
              </a:extLst>
            </p:cNvPr>
            <p:cNvSpPr/>
            <p:nvPr/>
          </p:nvSpPr>
          <p:spPr bwMode="auto">
            <a:xfrm>
              <a:off x="7648186" y="4314078"/>
              <a:ext cx="873762" cy="550980"/>
            </a:xfrm>
            <a:prstGeom prst="rect">
              <a:avLst/>
            </a:prstGeom>
            <a:solidFill>
              <a:srgbClr val="000000"/>
            </a:solidFill>
            <a:ln w="3175" cap="flat" cmpd="sng" algn="ctr">
              <a:solidFill>
                <a:srgbClr val="D83B01"/>
              </a:solidFill>
              <a:prstDash val="solid"/>
              <a:headEnd type="none" w="med" len="med"/>
              <a:tailEnd type="none" w="med" len="med"/>
            </a:ln>
            <a:effectLst>
              <a:outerShdw blurRad="571500" algn="tl" rotWithShape="0">
                <a:srgbClr val="D83B01">
                  <a:alpha val="70000"/>
                </a:srgbClr>
              </a:outerShdw>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Semibold"/>
                  <a:ea typeface="+mn-ea"/>
                  <a:cs typeface="Segoe UI" pitchFamily="34" charset="0"/>
                </a:rPr>
                <a:t>LZ / Platform</a:t>
              </a:r>
            </a:p>
          </p:txBody>
        </p:sp>
      </p:grpSp>
      <p:pic>
        <p:nvPicPr>
          <p:cNvPr id="110" name="Graphic 109" descr="Firewall icon">
            <a:extLst>
              <a:ext uri="{FF2B5EF4-FFF2-40B4-BE49-F238E27FC236}">
                <a16:creationId xmlns:a16="http://schemas.microsoft.com/office/drawing/2014/main" id="{1AC31075-C064-4E87-8741-14AAC42D7A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86348" y="3823239"/>
            <a:ext cx="379633" cy="379633"/>
          </a:xfrm>
          <a:prstGeom prst="rect">
            <a:avLst/>
          </a:prstGeom>
        </p:spPr>
      </p:pic>
      <p:grpSp>
        <p:nvGrpSpPr>
          <p:cNvPr id="15" name="Group 14">
            <a:extLst>
              <a:ext uri="{FF2B5EF4-FFF2-40B4-BE49-F238E27FC236}">
                <a16:creationId xmlns:a16="http://schemas.microsoft.com/office/drawing/2014/main" id="{A470EDD5-D6D4-4087-83AC-FF0DF46AD8FF}"/>
              </a:ext>
            </a:extLst>
          </p:cNvPr>
          <p:cNvGrpSpPr/>
          <p:nvPr/>
        </p:nvGrpSpPr>
        <p:grpSpPr>
          <a:xfrm>
            <a:off x="7300464" y="2914176"/>
            <a:ext cx="3703184" cy="3342352"/>
            <a:chOff x="7300463" y="2105084"/>
            <a:chExt cx="4711459" cy="4130620"/>
          </a:xfrm>
        </p:grpSpPr>
        <p:grpSp>
          <p:nvGrpSpPr>
            <p:cNvPr id="34" name="Group 33">
              <a:extLst>
                <a:ext uri="{FF2B5EF4-FFF2-40B4-BE49-F238E27FC236}">
                  <a16:creationId xmlns:a16="http://schemas.microsoft.com/office/drawing/2014/main" id="{D773FF17-2505-430E-B3A0-7A777539FC4E}"/>
                </a:ext>
              </a:extLst>
            </p:cNvPr>
            <p:cNvGrpSpPr/>
            <p:nvPr/>
          </p:nvGrpSpPr>
          <p:grpSpPr>
            <a:xfrm>
              <a:off x="7300463" y="2105084"/>
              <a:ext cx="4711459" cy="3500103"/>
              <a:chOff x="377290" y="2105084"/>
              <a:chExt cx="4711459" cy="3500103"/>
            </a:xfrm>
          </p:grpSpPr>
          <p:sp>
            <p:nvSpPr>
              <p:cNvPr id="35" name="Freeform: Shape 34">
                <a:extLst>
                  <a:ext uri="{FF2B5EF4-FFF2-40B4-BE49-F238E27FC236}">
                    <a16:creationId xmlns:a16="http://schemas.microsoft.com/office/drawing/2014/main" id="{480B1DD4-290A-4AC6-903A-D4B1795E4C89}"/>
                  </a:ext>
                </a:extLst>
              </p:cNvPr>
              <p:cNvSpPr/>
              <p:nvPr/>
            </p:nvSpPr>
            <p:spPr>
              <a:xfrm>
                <a:off x="1980609" y="2105084"/>
                <a:ext cx="1504819" cy="1147023"/>
              </a:xfrm>
              <a:custGeom>
                <a:avLst/>
                <a:gdLst>
                  <a:gd name="connsiteX0" fmla="*/ 0 w 1504819"/>
                  <a:gd name="connsiteY0" fmla="*/ 1147023 h 1147023"/>
                  <a:gd name="connsiteX1" fmla="*/ 752410 w 1504819"/>
                  <a:gd name="connsiteY1" fmla="*/ 0 h 1147023"/>
                  <a:gd name="connsiteX2" fmla="*/ 752410 w 1504819"/>
                  <a:gd name="connsiteY2" fmla="*/ 0 h 1147023"/>
                  <a:gd name="connsiteX3" fmla="*/ 1504819 w 1504819"/>
                  <a:gd name="connsiteY3" fmla="*/ 1147023 h 1147023"/>
                  <a:gd name="connsiteX4" fmla="*/ 0 w 1504819"/>
                  <a:gd name="connsiteY4" fmla="*/ 1147023 h 114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819" h="1147023">
                    <a:moveTo>
                      <a:pt x="0" y="1147023"/>
                    </a:moveTo>
                    <a:lnTo>
                      <a:pt x="752410" y="0"/>
                    </a:lnTo>
                    <a:lnTo>
                      <a:pt x="752410" y="0"/>
                    </a:lnTo>
                    <a:lnTo>
                      <a:pt x="1504819" y="1147023"/>
                    </a:lnTo>
                    <a:lnTo>
                      <a:pt x="0" y="1147023"/>
                    </a:lnTo>
                    <a:close/>
                  </a:path>
                </a:pathLst>
              </a:custGeom>
              <a:solidFill>
                <a:srgbClr val="506289"/>
              </a:solidFill>
            </p:spPr>
            <p:style>
              <a:lnRef idx="2">
                <a:schemeClr val="lt1">
                  <a:hueOff val="0"/>
                  <a:satOff val="0"/>
                  <a:lumOff val="0"/>
                  <a:alphaOff val="0"/>
                </a:schemeClr>
              </a:lnRef>
              <a:fillRef idx="1">
                <a:scrgbClr r="0" g="0" b="0"/>
              </a:fillRef>
              <a:effectRef idx="0">
                <a:schemeClr val="accent2">
                  <a:shade val="80000"/>
                  <a:hueOff val="0"/>
                  <a:satOff val="0"/>
                  <a:lumOff val="0"/>
                  <a:alphaOff val="0"/>
                </a:schemeClr>
              </a:effectRef>
              <a:fontRef idx="minor">
                <a:schemeClr val="lt1"/>
              </a:fontRef>
            </p:style>
            <p:txBody>
              <a:bodyPr spcFirstLastPara="0" vert="horz" wrap="square" lIns="13970" tIns="13970" rIns="13970" bIns="13970"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ctr" defTabSz="488950" rtl="0" eaLnBrk="1" fontAlgn="auto" latinLnBrk="0" hangingPunct="1">
                  <a:lnSpc>
                    <a:spcPct val="90000"/>
                  </a:lnSpc>
                  <a:spcBef>
                    <a:spcPct val="0"/>
                  </a:spcBef>
                  <a:spcAft>
                    <a:spcPct val="350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Identity</a:t>
                </a:r>
              </a:p>
              <a:p>
                <a:pPr marL="0" marR="0" lvl="0" indent="0" algn="ctr" defTabSz="48895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82AF8D64-76A7-4A58-A463-0ED88D61E0A6}"/>
                  </a:ext>
                </a:extLst>
              </p:cNvPr>
              <p:cNvSpPr/>
              <p:nvPr/>
            </p:nvSpPr>
            <p:spPr>
              <a:xfrm>
                <a:off x="1188353" y="3270991"/>
                <a:ext cx="3103867" cy="1147023"/>
              </a:xfrm>
              <a:custGeom>
                <a:avLst/>
                <a:gdLst>
                  <a:gd name="connsiteX0" fmla="*/ 0 w 3048238"/>
                  <a:gd name="connsiteY0" fmla="*/ 1147023 h 1147023"/>
                  <a:gd name="connsiteX1" fmla="*/ 773851 w 3048238"/>
                  <a:gd name="connsiteY1" fmla="*/ 0 h 1147023"/>
                  <a:gd name="connsiteX2" fmla="*/ 2274387 w 3048238"/>
                  <a:gd name="connsiteY2" fmla="*/ 0 h 1147023"/>
                  <a:gd name="connsiteX3" fmla="*/ 3048238 w 3048238"/>
                  <a:gd name="connsiteY3" fmla="*/ 1147023 h 1147023"/>
                  <a:gd name="connsiteX4" fmla="*/ 0 w 3048238"/>
                  <a:gd name="connsiteY4" fmla="*/ 1147023 h 114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238" h="1147023">
                    <a:moveTo>
                      <a:pt x="0" y="1147023"/>
                    </a:moveTo>
                    <a:lnTo>
                      <a:pt x="773851" y="0"/>
                    </a:lnTo>
                    <a:lnTo>
                      <a:pt x="2274387" y="0"/>
                    </a:lnTo>
                    <a:lnTo>
                      <a:pt x="3048238" y="1147023"/>
                    </a:lnTo>
                    <a:lnTo>
                      <a:pt x="0" y="1147023"/>
                    </a:lnTo>
                    <a:close/>
                  </a:path>
                </a:pathLst>
              </a:custGeom>
              <a:solidFill>
                <a:srgbClr val="203454"/>
              </a:solidFill>
            </p:spPr>
            <p:style>
              <a:lnRef idx="2">
                <a:schemeClr val="lt1">
                  <a:hueOff val="0"/>
                  <a:satOff val="0"/>
                  <a:lumOff val="0"/>
                  <a:alphaOff val="0"/>
                </a:schemeClr>
              </a:lnRef>
              <a:fillRef idx="1">
                <a:scrgbClr r="0" g="0" b="0"/>
              </a:fillRef>
              <a:effectRef idx="0">
                <a:schemeClr val="accent2">
                  <a:shade val="80000"/>
                  <a:hueOff val="70757"/>
                  <a:satOff val="11526"/>
                  <a:lumOff val="11097"/>
                  <a:alphaOff val="0"/>
                </a:schemeClr>
              </a:effectRef>
              <a:fontRef idx="minor">
                <a:schemeClr val="lt1"/>
              </a:fontRef>
            </p:style>
            <p:txBody>
              <a:bodyPr spcFirstLastPara="0" vert="horz" wrap="square" lIns="553762" tIns="20320" rIns="553762" bIns="2032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Management</a:t>
                </a:r>
                <a:endParaRPr kumimoji="0" lang="en-US" sz="18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A64F298E-C289-44B4-B210-8238BCF63B41}"/>
                  </a:ext>
                </a:extLst>
              </p:cNvPr>
              <p:cNvSpPr/>
              <p:nvPr/>
            </p:nvSpPr>
            <p:spPr>
              <a:xfrm>
                <a:off x="377290" y="4458164"/>
                <a:ext cx="4711459" cy="1147023"/>
              </a:xfrm>
              <a:custGeom>
                <a:avLst/>
                <a:gdLst>
                  <a:gd name="connsiteX0" fmla="*/ 0 w 4643071"/>
                  <a:gd name="connsiteY0" fmla="*/ 1147023 h 1147023"/>
                  <a:gd name="connsiteX1" fmla="*/ 773851 w 4643071"/>
                  <a:gd name="connsiteY1" fmla="*/ 0 h 1147023"/>
                  <a:gd name="connsiteX2" fmla="*/ 3869220 w 4643071"/>
                  <a:gd name="connsiteY2" fmla="*/ 0 h 1147023"/>
                  <a:gd name="connsiteX3" fmla="*/ 4643071 w 4643071"/>
                  <a:gd name="connsiteY3" fmla="*/ 1147023 h 1147023"/>
                  <a:gd name="connsiteX4" fmla="*/ 0 w 4643071"/>
                  <a:gd name="connsiteY4" fmla="*/ 1147023 h 114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3071" h="1147023">
                    <a:moveTo>
                      <a:pt x="0" y="1147023"/>
                    </a:moveTo>
                    <a:lnTo>
                      <a:pt x="773851" y="0"/>
                    </a:lnTo>
                    <a:lnTo>
                      <a:pt x="3869220" y="0"/>
                    </a:lnTo>
                    <a:lnTo>
                      <a:pt x="4643071" y="1147023"/>
                    </a:lnTo>
                    <a:lnTo>
                      <a:pt x="0" y="1147023"/>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2">
                  <a:shade val="80000"/>
                  <a:hueOff val="141514"/>
                  <a:satOff val="23052"/>
                  <a:lumOff val="22193"/>
                  <a:alphaOff val="0"/>
                </a:schemeClr>
              </a:effectRef>
              <a:fontRef idx="minor">
                <a:schemeClr val="lt1"/>
              </a:fontRef>
            </p:style>
            <p:txBody>
              <a:bodyPr spcFirstLastPara="0" vert="horz" wrap="square" lIns="832857" tIns="20320" rIns="832858" bIns="2032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Connectivity</a:t>
                </a:r>
                <a:endParaRPr kumimoji="0" lang="en-US" sz="1800" b="1"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6" name="TextBox 5">
              <a:extLst>
                <a:ext uri="{FF2B5EF4-FFF2-40B4-BE49-F238E27FC236}">
                  <a16:creationId xmlns:a16="http://schemas.microsoft.com/office/drawing/2014/main" id="{090B76F5-75BE-4EE2-A4A2-5A433D0C201C}"/>
                </a:ext>
              </a:extLst>
            </p:cNvPr>
            <p:cNvSpPr txBox="1"/>
            <p:nvPr/>
          </p:nvSpPr>
          <p:spPr>
            <a:xfrm>
              <a:off x="7620786" y="5866373"/>
              <a:ext cx="3282245" cy="36933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Platform Management</a:t>
              </a:r>
            </a:p>
          </p:txBody>
        </p:sp>
      </p:grpSp>
      <p:grpSp>
        <p:nvGrpSpPr>
          <p:cNvPr id="18" name="Group 17">
            <a:extLst>
              <a:ext uri="{FF2B5EF4-FFF2-40B4-BE49-F238E27FC236}">
                <a16:creationId xmlns:a16="http://schemas.microsoft.com/office/drawing/2014/main" id="{7A0DB559-5ECD-4A0D-AD40-FC1F49E2CF52}"/>
              </a:ext>
            </a:extLst>
          </p:cNvPr>
          <p:cNvGrpSpPr/>
          <p:nvPr/>
        </p:nvGrpSpPr>
        <p:grpSpPr>
          <a:xfrm>
            <a:off x="1992361" y="1180584"/>
            <a:ext cx="7967605" cy="1362004"/>
            <a:chOff x="2440996" y="1243682"/>
            <a:chExt cx="7967605" cy="1362004"/>
          </a:xfrm>
        </p:grpSpPr>
        <p:grpSp>
          <p:nvGrpSpPr>
            <p:cNvPr id="59" name="Group 58">
              <a:extLst>
                <a:ext uri="{FF2B5EF4-FFF2-40B4-BE49-F238E27FC236}">
                  <a16:creationId xmlns:a16="http://schemas.microsoft.com/office/drawing/2014/main" id="{0C487AB0-B555-4AC2-BDC0-64C1F93604A8}"/>
                </a:ext>
                <a:ext uri="{C183D7F6-B498-43B3-948B-1728B52AA6E4}">
                  <adec:decorative xmlns:adec="http://schemas.microsoft.com/office/drawing/2017/decorative" val="1"/>
                </a:ext>
              </a:extLst>
            </p:cNvPr>
            <p:cNvGrpSpPr/>
            <p:nvPr/>
          </p:nvGrpSpPr>
          <p:grpSpPr>
            <a:xfrm>
              <a:off x="3571839" y="1243682"/>
              <a:ext cx="1214049" cy="536971"/>
              <a:chOff x="1818469" y="893698"/>
              <a:chExt cx="1374983" cy="536971"/>
            </a:xfrm>
          </p:grpSpPr>
          <p:sp>
            <p:nvSpPr>
              <p:cNvPr id="155" name="Rectangle 154">
                <a:extLst>
                  <a:ext uri="{FF2B5EF4-FFF2-40B4-BE49-F238E27FC236}">
                    <a16:creationId xmlns:a16="http://schemas.microsoft.com/office/drawing/2014/main" id="{90564BB8-5C1C-4751-A2DD-D04416320C62}"/>
                  </a:ext>
                </a:extLst>
              </p:cNvPr>
              <p:cNvSpPr/>
              <p:nvPr/>
            </p:nvSpPr>
            <p:spPr bwMode="auto">
              <a:xfrm>
                <a:off x="1881445" y="893698"/>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56" name="TextBox 155">
                <a:extLst>
                  <a:ext uri="{FF2B5EF4-FFF2-40B4-BE49-F238E27FC236}">
                    <a16:creationId xmlns:a16="http://schemas.microsoft.com/office/drawing/2014/main" id="{411FFB9F-1837-42BC-B6D5-3CF836F784DB}"/>
                  </a:ext>
                </a:extLst>
              </p:cNvPr>
              <p:cNvSpPr txBox="1"/>
              <p:nvPr/>
            </p:nvSpPr>
            <p:spPr>
              <a:xfrm>
                <a:off x="1818469" y="893698"/>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AD (RBAC)</a:t>
                </a:r>
              </a:p>
            </p:txBody>
          </p:sp>
          <p:pic>
            <p:nvPicPr>
              <p:cNvPr id="157" name="Graphic 156">
                <a:extLst>
                  <a:ext uri="{FF2B5EF4-FFF2-40B4-BE49-F238E27FC236}">
                    <a16:creationId xmlns:a16="http://schemas.microsoft.com/office/drawing/2014/main" id="{3C46A836-9A3C-424B-8FE2-B0C745006C0E}"/>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69497" y="1106162"/>
                <a:ext cx="274321" cy="274320"/>
              </a:xfrm>
              <a:prstGeom prst="rect">
                <a:avLst/>
              </a:prstGeom>
            </p:spPr>
          </p:pic>
        </p:grpSp>
        <p:grpSp>
          <p:nvGrpSpPr>
            <p:cNvPr id="61" name="Group 60">
              <a:extLst>
                <a:ext uri="{FF2B5EF4-FFF2-40B4-BE49-F238E27FC236}">
                  <a16:creationId xmlns:a16="http://schemas.microsoft.com/office/drawing/2014/main" id="{CC405EA6-4CF5-4B0E-A466-E993E2857218}"/>
                </a:ext>
                <a:ext uri="{C183D7F6-B498-43B3-948B-1728B52AA6E4}">
                  <adec:decorative xmlns:adec="http://schemas.microsoft.com/office/drawing/2017/decorative" val="1"/>
                </a:ext>
              </a:extLst>
            </p:cNvPr>
            <p:cNvGrpSpPr/>
            <p:nvPr/>
          </p:nvGrpSpPr>
          <p:grpSpPr>
            <a:xfrm>
              <a:off x="3571839" y="1811391"/>
              <a:ext cx="1214049" cy="536971"/>
              <a:chOff x="3438765" y="892073"/>
              <a:chExt cx="1374983" cy="536971"/>
            </a:xfrm>
          </p:grpSpPr>
          <p:sp>
            <p:nvSpPr>
              <p:cNvPr id="152" name="Rectangle 151">
                <a:extLst>
                  <a:ext uri="{FF2B5EF4-FFF2-40B4-BE49-F238E27FC236}">
                    <a16:creationId xmlns:a16="http://schemas.microsoft.com/office/drawing/2014/main" id="{DD7151D0-0E3A-44FB-B79E-97F1C0AD59B0}"/>
                  </a:ext>
                </a:extLst>
              </p:cNvPr>
              <p:cNvSpPr/>
              <p:nvPr/>
            </p:nvSpPr>
            <p:spPr bwMode="auto">
              <a:xfrm>
                <a:off x="3501741" y="892073"/>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53" name="TextBox 152">
                <a:extLst>
                  <a:ext uri="{FF2B5EF4-FFF2-40B4-BE49-F238E27FC236}">
                    <a16:creationId xmlns:a16="http://schemas.microsoft.com/office/drawing/2014/main" id="{97A115CB-435C-4442-8A1A-EA41DD4FC7CE}"/>
                  </a:ext>
                </a:extLst>
              </p:cNvPr>
              <p:cNvSpPr txBox="1"/>
              <p:nvPr/>
            </p:nvSpPr>
            <p:spPr>
              <a:xfrm>
                <a:off x="3438765" y="892073"/>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Monitor</a:t>
                </a:r>
              </a:p>
            </p:txBody>
          </p:sp>
          <p:pic>
            <p:nvPicPr>
              <p:cNvPr id="154" name="Graphic 153">
                <a:extLst>
                  <a:ext uri="{FF2B5EF4-FFF2-40B4-BE49-F238E27FC236}">
                    <a16:creationId xmlns:a16="http://schemas.microsoft.com/office/drawing/2014/main" id="{76E79F64-2066-4CFA-9BBA-4D115EBCDD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994708" y="1101420"/>
                <a:ext cx="274320" cy="274320"/>
              </a:xfrm>
              <a:prstGeom prst="rect">
                <a:avLst/>
              </a:prstGeom>
            </p:spPr>
          </p:pic>
        </p:grpSp>
        <p:grpSp>
          <p:nvGrpSpPr>
            <p:cNvPr id="62" name="Group 61">
              <a:extLst>
                <a:ext uri="{FF2B5EF4-FFF2-40B4-BE49-F238E27FC236}">
                  <a16:creationId xmlns:a16="http://schemas.microsoft.com/office/drawing/2014/main" id="{2A697514-F1D2-4238-ADB3-9D07E8D17602}"/>
                </a:ext>
                <a:ext uri="{C183D7F6-B498-43B3-948B-1728B52AA6E4}">
                  <adec:decorative xmlns:adec="http://schemas.microsoft.com/office/drawing/2017/decorative" val="1"/>
                </a:ext>
              </a:extLst>
            </p:cNvPr>
            <p:cNvGrpSpPr/>
            <p:nvPr/>
          </p:nvGrpSpPr>
          <p:grpSpPr>
            <a:xfrm>
              <a:off x="4705718" y="1245067"/>
              <a:ext cx="1214049" cy="536971"/>
              <a:chOff x="1818469" y="893698"/>
              <a:chExt cx="1374983" cy="536971"/>
            </a:xfrm>
          </p:grpSpPr>
          <p:sp>
            <p:nvSpPr>
              <p:cNvPr id="150" name="Rectangle 149">
                <a:extLst>
                  <a:ext uri="{FF2B5EF4-FFF2-40B4-BE49-F238E27FC236}">
                    <a16:creationId xmlns:a16="http://schemas.microsoft.com/office/drawing/2014/main" id="{760FAD91-DE1E-42F6-8C49-2FCC6B23F392}"/>
                  </a:ext>
                </a:extLst>
              </p:cNvPr>
              <p:cNvSpPr/>
              <p:nvPr/>
            </p:nvSpPr>
            <p:spPr bwMode="auto">
              <a:xfrm>
                <a:off x="1881445" y="893698"/>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51" name="TextBox 150">
                <a:extLst>
                  <a:ext uri="{FF2B5EF4-FFF2-40B4-BE49-F238E27FC236}">
                    <a16:creationId xmlns:a16="http://schemas.microsoft.com/office/drawing/2014/main" id="{E888D70D-6079-4CD4-A66D-B8EC131352F7}"/>
                  </a:ext>
                </a:extLst>
              </p:cNvPr>
              <p:cNvSpPr txBox="1"/>
              <p:nvPr/>
            </p:nvSpPr>
            <p:spPr>
              <a:xfrm>
                <a:off x="1818469" y="893698"/>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ARM Templates</a:t>
                </a:r>
              </a:p>
            </p:txBody>
          </p:sp>
        </p:grpSp>
        <p:grpSp>
          <p:nvGrpSpPr>
            <p:cNvPr id="63" name="Group 62">
              <a:extLst>
                <a:ext uri="{FF2B5EF4-FFF2-40B4-BE49-F238E27FC236}">
                  <a16:creationId xmlns:a16="http://schemas.microsoft.com/office/drawing/2014/main" id="{EB65948A-F753-43D8-9C4B-0AF7F04A3459}"/>
                </a:ext>
                <a:ext uri="{C183D7F6-B498-43B3-948B-1728B52AA6E4}">
                  <adec:decorative xmlns:adec="http://schemas.microsoft.com/office/drawing/2017/decorative" val="1"/>
                </a:ext>
              </a:extLst>
            </p:cNvPr>
            <p:cNvGrpSpPr/>
            <p:nvPr/>
          </p:nvGrpSpPr>
          <p:grpSpPr>
            <a:xfrm>
              <a:off x="4705718" y="1812776"/>
              <a:ext cx="1214049" cy="536971"/>
              <a:chOff x="3438765" y="892073"/>
              <a:chExt cx="1374983" cy="536971"/>
            </a:xfrm>
          </p:grpSpPr>
          <p:sp>
            <p:nvSpPr>
              <p:cNvPr id="148" name="Rectangle 147">
                <a:extLst>
                  <a:ext uri="{FF2B5EF4-FFF2-40B4-BE49-F238E27FC236}">
                    <a16:creationId xmlns:a16="http://schemas.microsoft.com/office/drawing/2014/main" id="{F15DF06A-84D6-4252-B3C2-01CA14AFEA29}"/>
                  </a:ext>
                </a:extLst>
              </p:cNvPr>
              <p:cNvSpPr/>
              <p:nvPr/>
            </p:nvSpPr>
            <p:spPr bwMode="auto">
              <a:xfrm>
                <a:off x="3501741" y="892073"/>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49" name="TextBox 148">
                <a:extLst>
                  <a:ext uri="{FF2B5EF4-FFF2-40B4-BE49-F238E27FC236}">
                    <a16:creationId xmlns:a16="http://schemas.microsoft.com/office/drawing/2014/main" id="{CAA77AFC-86CE-4F02-AF9E-9637D0F535AA}"/>
                  </a:ext>
                </a:extLst>
              </p:cNvPr>
              <p:cNvSpPr txBox="1"/>
              <p:nvPr/>
            </p:nvSpPr>
            <p:spPr>
              <a:xfrm>
                <a:off x="3438765" y="892073"/>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Log Analytics</a:t>
                </a:r>
              </a:p>
            </p:txBody>
          </p:sp>
        </p:grpSp>
        <p:grpSp>
          <p:nvGrpSpPr>
            <p:cNvPr id="64" name="Group 63">
              <a:extLst>
                <a:ext uri="{FF2B5EF4-FFF2-40B4-BE49-F238E27FC236}">
                  <a16:creationId xmlns:a16="http://schemas.microsoft.com/office/drawing/2014/main" id="{AFBE8C15-EBE9-4AFA-8B37-49F3DDA395B9}"/>
                </a:ext>
                <a:ext uri="{C183D7F6-B498-43B3-948B-1728B52AA6E4}">
                  <adec:decorative xmlns:adec="http://schemas.microsoft.com/office/drawing/2017/decorative" val="1"/>
                </a:ext>
              </a:extLst>
            </p:cNvPr>
            <p:cNvGrpSpPr/>
            <p:nvPr/>
          </p:nvGrpSpPr>
          <p:grpSpPr>
            <a:xfrm>
              <a:off x="5821179" y="1244904"/>
              <a:ext cx="1214049" cy="536971"/>
              <a:chOff x="1818469" y="893698"/>
              <a:chExt cx="1374983" cy="536971"/>
            </a:xfrm>
          </p:grpSpPr>
          <p:sp>
            <p:nvSpPr>
              <p:cNvPr id="146" name="Rectangle 145">
                <a:extLst>
                  <a:ext uri="{FF2B5EF4-FFF2-40B4-BE49-F238E27FC236}">
                    <a16:creationId xmlns:a16="http://schemas.microsoft.com/office/drawing/2014/main" id="{ADD64B7D-EA16-466E-B04D-07AF072A3022}"/>
                  </a:ext>
                </a:extLst>
              </p:cNvPr>
              <p:cNvSpPr/>
              <p:nvPr/>
            </p:nvSpPr>
            <p:spPr bwMode="auto">
              <a:xfrm>
                <a:off x="1881445" y="893698"/>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47" name="TextBox 146">
                <a:extLst>
                  <a:ext uri="{FF2B5EF4-FFF2-40B4-BE49-F238E27FC236}">
                    <a16:creationId xmlns:a16="http://schemas.microsoft.com/office/drawing/2014/main" id="{31C688B0-F5AB-44B8-A245-DB47401FF285}"/>
                  </a:ext>
                </a:extLst>
              </p:cNvPr>
              <p:cNvSpPr txBox="1"/>
              <p:nvPr/>
            </p:nvSpPr>
            <p:spPr>
              <a:xfrm>
                <a:off x="1818469" y="893698"/>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Tags</a:t>
                </a:r>
              </a:p>
            </p:txBody>
          </p:sp>
        </p:grpSp>
        <p:grpSp>
          <p:nvGrpSpPr>
            <p:cNvPr id="65" name="Group 64">
              <a:extLst>
                <a:ext uri="{FF2B5EF4-FFF2-40B4-BE49-F238E27FC236}">
                  <a16:creationId xmlns:a16="http://schemas.microsoft.com/office/drawing/2014/main" id="{88928952-54B3-4F2B-BBBA-A0023FDA3162}"/>
                </a:ext>
                <a:ext uri="{C183D7F6-B498-43B3-948B-1728B52AA6E4}">
                  <adec:decorative xmlns:adec="http://schemas.microsoft.com/office/drawing/2017/decorative" val="1"/>
                </a:ext>
              </a:extLst>
            </p:cNvPr>
            <p:cNvGrpSpPr/>
            <p:nvPr/>
          </p:nvGrpSpPr>
          <p:grpSpPr>
            <a:xfrm>
              <a:off x="5821179" y="1812613"/>
              <a:ext cx="1214049" cy="536971"/>
              <a:chOff x="3438765" y="892073"/>
              <a:chExt cx="1374983" cy="536971"/>
            </a:xfrm>
          </p:grpSpPr>
          <p:sp>
            <p:nvSpPr>
              <p:cNvPr id="144" name="Rectangle 143">
                <a:extLst>
                  <a:ext uri="{FF2B5EF4-FFF2-40B4-BE49-F238E27FC236}">
                    <a16:creationId xmlns:a16="http://schemas.microsoft.com/office/drawing/2014/main" id="{9611BB0B-98DA-4F9E-AC97-551C1B5F2F61}"/>
                  </a:ext>
                </a:extLst>
              </p:cNvPr>
              <p:cNvSpPr/>
              <p:nvPr/>
            </p:nvSpPr>
            <p:spPr bwMode="auto">
              <a:xfrm>
                <a:off x="3501741" y="892073"/>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45" name="TextBox 144">
                <a:extLst>
                  <a:ext uri="{FF2B5EF4-FFF2-40B4-BE49-F238E27FC236}">
                    <a16:creationId xmlns:a16="http://schemas.microsoft.com/office/drawing/2014/main" id="{A769CFCA-E18B-4B7E-A6A3-502047EF4925}"/>
                  </a:ext>
                </a:extLst>
              </p:cNvPr>
              <p:cNvSpPr txBox="1"/>
              <p:nvPr/>
            </p:nvSpPr>
            <p:spPr>
              <a:xfrm>
                <a:off x="3438765" y="892073"/>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Defender</a:t>
                </a:r>
              </a:p>
            </p:txBody>
          </p:sp>
        </p:grpSp>
        <p:grpSp>
          <p:nvGrpSpPr>
            <p:cNvPr id="67" name="Group 66">
              <a:extLst>
                <a:ext uri="{FF2B5EF4-FFF2-40B4-BE49-F238E27FC236}">
                  <a16:creationId xmlns:a16="http://schemas.microsoft.com/office/drawing/2014/main" id="{62ADCEA2-46EF-4309-9344-3CF15423C012}"/>
                </a:ext>
                <a:ext uri="{C183D7F6-B498-43B3-948B-1728B52AA6E4}">
                  <adec:decorative xmlns:adec="http://schemas.microsoft.com/office/drawing/2017/decorative" val="1"/>
                </a:ext>
              </a:extLst>
            </p:cNvPr>
            <p:cNvGrpSpPr/>
            <p:nvPr/>
          </p:nvGrpSpPr>
          <p:grpSpPr>
            <a:xfrm>
              <a:off x="6945212" y="1246289"/>
              <a:ext cx="1214049" cy="536971"/>
              <a:chOff x="1818469" y="893698"/>
              <a:chExt cx="1374983" cy="536971"/>
            </a:xfrm>
          </p:grpSpPr>
          <p:sp>
            <p:nvSpPr>
              <p:cNvPr id="142" name="Rectangle 141">
                <a:extLst>
                  <a:ext uri="{FF2B5EF4-FFF2-40B4-BE49-F238E27FC236}">
                    <a16:creationId xmlns:a16="http://schemas.microsoft.com/office/drawing/2014/main" id="{EEBA75F0-1CF8-495F-B73E-A6282474A963}"/>
                  </a:ext>
                </a:extLst>
              </p:cNvPr>
              <p:cNvSpPr/>
              <p:nvPr/>
            </p:nvSpPr>
            <p:spPr bwMode="auto">
              <a:xfrm>
                <a:off x="1881445" y="893698"/>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43" name="TextBox 142">
                <a:extLst>
                  <a:ext uri="{FF2B5EF4-FFF2-40B4-BE49-F238E27FC236}">
                    <a16:creationId xmlns:a16="http://schemas.microsoft.com/office/drawing/2014/main" id="{F51F0834-A54B-4F9B-81A7-6D6219598EC5}"/>
                  </a:ext>
                </a:extLst>
              </p:cNvPr>
              <p:cNvSpPr txBox="1"/>
              <p:nvPr/>
            </p:nvSpPr>
            <p:spPr>
              <a:xfrm>
                <a:off x="1818469" y="893698"/>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Resource Graph</a:t>
                </a:r>
              </a:p>
            </p:txBody>
          </p:sp>
        </p:grpSp>
        <p:grpSp>
          <p:nvGrpSpPr>
            <p:cNvPr id="70" name="Group 69">
              <a:extLst>
                <a:ext uri="{FF2B5EF4-FFF2-40B4-BE49-F238E27FC236}">
                  <a16:creationId xmlns:a16="http://schemas.microsoft.com/office/drawing/2014/main" id="{FFA47A1C-3A0A-41B3-AA7B-F2632D78B3B6}"/>
                </a:ext>
                <a:ext uri="{C183D7F6-B498-43B3-948B-1728B52AA6E4}">
                  <adec:decorative xmlns:adec="http://schemas.microsoft.com/office/drawing/2017/decorative" val="1"/>
                </a:ext>
              </a:extLst>
            </p:cNvPr>
            <p:cNvGrpSpPr/>
            <p:nvPr/>
          </p:nvGrpSpPr>
          <p:grpSpPr>
            <a:xfrm>
              <a:off x="6945212" y="1813998"/>
              <a:ext cx="1214049" cy="536971"/>
              <a:chOff x="3438765" y="892073"/>
              <a:chExt cx="1374983" cy="536971"/>
            </a:xfrm>
          </p:grpSpPr>
          <p:sp>
            <p:nvSpPr>
              <p:cNvPr id="140" name="Rectangle 139">
                <a:extLst>
                  <a:ext uri="{FF2B5EF4-FFF2-40B4-BE49-F238E27FC236}">
                    <a16:creationId xmlns:a16="http://schemas.microsoft.com/office/drawing/2014/main" id="{2E149847-D117-4657-9E9A-5C5E46A049D8}"/>
                  </a:ext>
                </a:extLst>
              </p:cNvPr>
              <p:cNvSpPr/>
              <p:nvPr/>
            </p:nvSpPr>
            <p:spPr bwMode="auto">
              <a:xfrm>
                <a:off x="3501741" y="892073"/>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41" name="TextBox 140">
                <a:extLst>
                  <a:ext uri="{FF2B5EF4-FFF2-40B4-BE49-F238E27FC236}">
                    <a16:creationId xmlns:a16="http://schemas.microsoft.com/office/drawing/2014/main" id="{F268E2C8-2F99-4434-9EEA-5529B9D638D4}"/>
                  </a:ext>
                </a:extLst>
              </p:cNvPr>
              <p:cNvSpPr txBox="1"/>
              <p:nvPr/>
            </p:nvSpPr>
            <p:spPr>
              <a:xfrm>
                <a:off x="3438765" y="892073"/>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Sentinel</a:t>
                </a:r>
              </a:p>
            </p:txBody>
          </p:sp>
        </p:grpSp>
        <p:grpSp>
          <p:nvGrpSpPr>
            <p:cNvPr id="71" name="Group 70">
              <a:extLst>
                <a:ext uri="{FF2B5EF4-FFF2-40B4-BE49-F238E27FC236}">
                  <a16:creationId xmlns:a16="http://schemas.microsoft.com/office/drawing/2014/main" id="{B3D46642-FEEF-4862-88D4-02B5EB8F1C3C}"/>
                </a:ext>
                <a:ext uri="{C183D7F6-B498-43B3-948B-1728B52AA6E4}">
                  <adec:decorative xmlns:adec="http://schemas.microsoft.com/office/drawing/2017/decorative" val="1"/>
                </a:ext>
              </a:extLst>
            </p:cNvPr>
            <p:cNvGrpSpPr/>
            <p:nvPr/>
          </p:nvGrpSpPr>
          <p:grpSpPr>
            <a:xfrm>
              <a:off x="8060673" y="1246126"/>
              <a:ext cx="1214049" cy="536971"/>
              <a:chOff x="1818469" y="893698"/>
              <a:chExt cx="1374983" cy="536971"/>
            </a:xfrm>
          </p:grpSpPr>
          <p:sp>
            <p:nvSpPr>
              <p:cNvPr id="138" name="Rectangle 137">
                <a:extLst>
                  <a:ext uri="{FF2B5EF4-FFF2-40B4-BE49-F238E27FC236}">
                    <a16:creationId xmlns:a16="http://schemas.microsoft.com/office/drawing/2014/main" id="{9536A4AF-41CD-4071-A108-AA157758C0D6}"/>
                  </a:ext>
                </a:extLst>
              </p:cNvPr>
              <p:cNvSpPr/>
              <p:nvPr/>
            </p:nvSpPr>
            <p:spPr bwMode="auto">
              <a:xfrm>
                <a:off x="1881445" y="893698"/>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39" name="TextBox 138">
                <a:extLst>
                  <a:ext uri="{FF2B5EF4-FFF2-40B4-BE49-F238E27FC236}">
                    <a16:creationId xmlns:a16="http://schemas.microsoft.com/office/drawing/2014/main" id="{93670C0C-25BF-4A91-9FA1-A000F7C12FBB}"/>
                  </a:ext>
                </a:extLst>
              </p:cNvPr>
              <p:cNvSpPr txBox="1"/>
              <p:nvPr/>
            </p:nvSpPr>
            <p:spPr>
              <a:xfrm>
                <a:off x="1818469" y="893698"/>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Audit</a:t>
                </a:r>
              </a:p>
            </p:txBody>
          </p:sp>
        </p:grpSp>
        <p:grpSp>
          <p:nvGrpSpPr>
            <p:cNvPr id="72" name="Group 71">
              <a:extLst>
                <a:ext uri="{FF2B5EF4-FFF2-40B4-BE49-F238E27FC236}">
                  <a16:creationId xmlns:a16="http://schemas.microsoft.com/office/drawing/2014/main" id="{DD9F57DC-41C4-495A-A647-1F76BAE0C2E2}"/>
                </a:ext>
                <a:ext uri="{C183D7F6-B498-43B3-948B-1728B52AA6E4}">
                  <adec:decorative xmlns:adec="http://schemas.microsoft.com/office/drawing/2017/decorative" val="1"/>
                </a:ext>
              </a:extLst>
            </p:cNvPr>
            <p:cNvGrpSpPr/>
            <p:nvPr/>
          </p:nvGrpSpPr>
          <p:grpSpPr>
            <a:xfrm>
              <a:off x="8060673" y="1813835"/>
              <a:ext cx="1214049" cy="536971"/>
              <a:chOff x="3438765" y="892073"/>
              <a:chExt cx="1374983" cy="536971"/>
            </a:xfrm>
          </p:grpSpPr>
          <p:sp>
            <p:nvSpPr>
              <p:cNvPr id="136" name="Rectangle 135">
                <a:extLst>
                  <a:ext uri="{FF2B5EF4-FFF2-40B4-BE49-F238E27FC236}">
                    <a16:creationId xmlns:a16="http://schemas.microsoft.com/office/drawing/2014/main" id="{2226D8BE-28CB-44D9-ABEF-41D19FE83040}"/>
                  </a:ext>
                </a:extLst>
              </p:cNvPr>
              <p:cNvSpPr/>
              <p:nvPr/>
            </p:nvSpPr>
            <p:spPr bwMode="auto">
              <a:xfrm>
                <a:off x="3501741" y="892073"/>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37" name="TextBox 136">
                <a:extLst>
                  <a:ext uri="{FF2B5EF4-FFF2-40B4-BE49-F238E27FC236}">
                    <a16:creationId xmlns:a16="http://schemas.microsoft.com/office/drawing/2014/main" id="{CFB8EA1C-2F3F-4454-87E8-DD13392BA3F6}"/>
                  </a:ext>
                </a:extLst>
              </p:cNvPr>
              <p:cNvSpPr txBox="1"/>
              <p:nvPr/>
            </p:nvSpPr>
            <p:spPr>
              <a:xfrm>
                <a:off x="3438765" y="892073"/>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Key Vault</a:t>
                </a:r>
              </a:p>
            </p:txBody>
          </p:sp>
        </p:grpSp>
        <p:grpSp>
          <p:nvGrpSpPr>
            <p:cNvPr id="88" name="Group 87">
              <a:extLst>
                <a:ext uri="{FF2B5EF4-FFF2-40B4-BE49-F238E27FC236}">
                  <a16:creationId xmlns:a16="http://schemas.microsoft.com/office/drawing/2014/main" id="{D9D3821E-A1D8-4BA8-A657-FBBA80A275E4}"/>
                </a:ext>
                <a:ext uri="{C183D7F6-B498-43B3-948B-1728B52AA6E4}">
                  <adec:decorative xmlns:adec="http://schemas.microsoft.com/office/drawing/2017/decorative" val="1"/>
                </a:ext>
              </a:extLst>
            </p:cNvPr>
            <p:cNvGrpSpPr/>
            <p:nvPr/>
          </p:nvGrpSpPr>
          <p:grpSpPr>
            <a:xfrm>
              <a:off x="9194552" y="1247511"/>
              <a:ext cx="1214049" cy="536971"/>
              <a:chOff x="1818469" y="893698"/>
              <a:chExt cx="1374983" cy="536971"/>
            </a:xfrm>
          </p:grpSpPr>
          <p:sp>
            <p:nvSpPr>
              <p:cNvPr id="134" name="Rectangle 133">
                <a:extLst>
                  <a:ext uri="{FF2B5EF4-FFF2-40B4-BE49-F238E27FC236}">
                    <a16:creationId xmlns:a16="http://schemas.microsoft.com/office/drawing/2014/main" id="{4F0EFAA8-79A5-428E-944E-C63A3E694B95}"/>
                  </a:ext>
                </a:extLst>
              </p:cNvPr>
              <p:cNvSpPr/>
              <p:nvPr/>
            </p:nvSpPr>
            <p:spPr bwMode="auto">
              <a:xfrm>
                <a:off x="1881445" y="893698"/>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35" name="TextBox 134">
                <a:extLst>
                  <a:ext uri="{FF2B5EF4-FFF2-40B4-BE49-F238E27FC236}">
                    <a16:creationId xmlns:a16="http://schemas.microsoft.com/office/drawing/2014/main" id="{FE4E8DC5-EDE9-4AB7-990F-A30DC24A18FF}"/>
                  </a:ext>
                </a:extLst>
              </p:cNvPr>
              <p:cNvSpPr txBox="1"/>
              <p:nvPr/>
            </p:nvSpPr>
            <p:spPr>
              <a:xfrm>
                <a:off x="1818469" y="893698"/>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Automation</a:t>
                </a:r>
              </a:p>
            </p:txBody>
          </p:sp>
        </p:grpSp>
        <p:grpSp>
          <p:nvGrpSpPr>
            <p:cNvPr id="89" name="Group 88">
              <a:extLst>
                <a:ext uri="{FF2B5EF4-FFF2-40B4-BE49-F238E27FC236}">
                  <a16:creationId xmlns:a16="http://schemas.microsoft.com/office/drawing/2014/main" id="{C64CE52E-1844-4792-9C30-0E239B68F14E}"/>
                </a:ext>
                <a:ext uri="{C183D7F6-B498-43B3-948B-1728B52AA6E4}">
                  <adec:decorative xmlns:adec="http://schemas.microsoft.com/office/drawing/2017/decorative" val="1"/>
                </a:ext>
              </a:extLst>
            </p:cNvPr>
            <p:cNvGrpSpPr/>
            <p:nvPr/>
          </p:nvGrpSpPr>
          <p:grpSpPr>
            <a:xfrm>
              <a:off x="9194552" y="1815220"/>
              <a:ext cx="1214049" cy="536971"/>
              <a:chOff x="3438765" y="892073"/>
              <a:chExt cx="1374983" cy="536971"/>
            </a:xfrm>
          </p:grpSpPr>
          <p:sp>
            <p:nvSpPr>
              <p:cNvPr id="132" name="Rectangle 131">
                <a:extLst>
                  <a:ext uri="{FF2B5EF4-FFF2-40B4-BE49-F238E27FC236}">
                    <a16:creationId xmlns:a16="http://schemas.microsoft.com/office/drawing/2014/main" id="{97B9DAB5-DA74-480F-9B3F-23269D4DAC20}"/>
                  </a:ext>
                </a:extLst>
              </p:cNvPr>
              <p:cNvSpPr/>
              <p:nvPr/>
            </p:nvSpPr>
            <p:spPr bwMode="auto">
              <a:xfrm>
                <a:off x="3501741" y="892073"/>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33" name="TextBox 132">
                <a:extLst>
                  <a:ext uri="{FF2B5EF4-FFF2-40B4-BE49-F238E27FC236}">
                    <a16:creationId xmlns:a16="http://schemas.microsoft.com/office/drawing/2014/main" id="{D8931BF3-F74F-4C04-8E35-751DAF02CBDA}"/>
                  </a:ext>
                </a:extLst>
              </p:cNvPr>
              <p:cNvSpPr txBox="1"/>
              <p:nvPr/>
            </p:nvSpPr>
            <p:spPr>
              <a:xfrm>
                <a:off x="3438765" y="892073"/>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Automanage</a:t>
                </a:r>
              </a:p>
            </p:txBody>
          </p:sp>
        </p:grpSp>
        <p:pic>
          <p:nvPicPr>
            <p:cNvPr id="90" name="Graphic 89">
              <a:extLst>
                <a:ext uri="{FF2B5EF4-FFF2-40B4-BE49-F238E27FC236}">
                  <a16:creationId xmlns:a16="http://schemas.microsoft.com/office/drawing/2014/main" id="{A0AA786D-B2C3-461A-BC1D-16B4DE85989F}"/>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645120" y="1444507"/>
              <a:ext cx="274320" cy="310684"/>
            </a:xfrm>
            <a:prstGeom prst="rect">
              <a:avLst/>
            </a:prstGeom>
          </p:spPr>
        </p:pic>
        <p:pic>
          <p:nvPicPr>
            <p:cNvPr id="91" name="Graphic 90">
              <a:extLst>
                <a:ext uri="{FF2B5EF4-FFF2-40B4-BE49-F238E27FC236}">
                  <a16:creationId xmlns:a16="http://schemas.microsoft.com/office/drawing/2014/main" id="{6AD42957-9BED-4615-99EF-E3FA09579651}"/>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677228" y="2026052"/>
              <a:ext cx="242212" cy="274320"/>
            </a:xfrm>
            <a:prstGeom prst="rect">
              <a:avLst/>
            </a:prstGeom>
          </p:spPr>
        </p:pic>
        <p:pic>
          <p:nvPicPr>
            <p:cNvPr id="92" name="Graphic 91">
              <a:extLst>
                <a:ext uri="{FF2B5EF4-FFF2-40B4-BE49-F238E27FC236}">
                  <a16:creationId xmlns:a16="http://schemas.microsoft.com/office/drawing/2014/main" id="{C5035EF4-FB12-4255-9190-81F3D650B49F}"/>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215574" y="2019394"/>
              <a:ext cx="242212" cy="274320"/>
            </a:xfrm>
            <a:prstGeom prst="rect">
              <a:avLst/>
            </a:prstGeom>
          </p:spPr>
        </p:pic>
        <p:pic>
          <p:nvPicPr>
            <p:cNvPr id="93" name="Graphic 92">
              <a:extLst>
                <a:ext uri="{FF2B5EF4-FFF2-40B4-BE49-F238E27FC236}">
                  <a16:creationId xmlns:a16="http://schemas.microsoft.com/office/drawing/2014/main" id="{136B649D-C039-4F9D-B667-2DAB74E56BD4}"/>
                </a:ext>
                <a:ext uri="{C183D7F6-B498-43B3-948B-1728B52AA6E4}">
                  <adec:decorative xmlns:adec="http://schemas.microsoft.com/office/drawing/2017/decorative" val="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431130" y="2018022"/>
              <a:ext cx="242212" cy="274320"/>
            </a:xfrm>
            <a:prstGeom prst="rect">
              <a:avLst/>
            </a:prstGeom>
          </p:spPr>
        </p:pic>
        <p:pic>
          <p:nvPicPr>
            <p:cNvPr id="94" name="Graphic 93">
              <a:extLst>
                <a:ext uri="{FF2B5EF4-FFF2-40B4-BE49-F238E27FC236}">
                  <a16:creationId xmlns:a16="http://schemas.microsoft.com/office/drawing/2014/main" id="{C856A21F-94A1-4ED8-B56B-64D6666427A2}"/>
                </a:ext>
                <a:ext uri="{C183D7F6-B498-43B3-948B-1728B52AA6E4}">
                  <adec:decorative xmlns:adec="http://schemas.microsoft.com/office/drawing/2017/decorative" val="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287877" y="1449601"/>
              <a:ext cx="242212" cy="274320"/>
            </a:xfrm>
            <a:prstGeom prst="rect">
              <a:avLst/>
            </a:prstGeom>
          </p:spPr>
        </p:pic>
        <p:sp>
          <p:nvSpPr>
            <p:cNvPr id="95" name="Rectangle 94">
              <a:extLst>
                <a:ext uri="{FF2B5EF4-FFF2-40B4-BE49-F238E27FC236}">
                  <a16:creationId xmlns:a16="http://schemas.microsoft.com/office/drawing/2014/main" id="{41C6CF6A-A68A-4FD2-9CF6-B1F084A24904}"/>
                </a:ext>
                <a:ext uri="{C183D7F6-B498-43B3-948B-1728B52AA6E4}">
                  <adec:decorative xmlns:adec="http://schemas.microsoft.com/office/drawing/2017/decorative" val="1"/>
                </a:ext>
              </a:extLst>
            </p:cNvPr>
            <p:cNvSpPr/>
            <p:nvPr/>
          </p:nvSpPr>
          <p:spPr>
            <a:xfrm>
              <a:off x="8530537" y="1472748"/>
              <a:ext cx="274320" cy="274320"/>
            </a:xfrm>
            <a:prstGeom prst="rect">
              <a:avLst/>
            </a:prstGeom>
            <a: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a:fillRect/>
              </a:stretch>
            </a:blipFill>
            <a:ln w="10795" cap="flat" cmpd="sng" algn="ctr">
              <a:noFill/>
              <a:prstDash val="solid"/>
            </a:ln>
            <a:effectLst/>
          </p:spPr>
        </p:sp>
        <p:pic>
          <p:nvPicPr>
            <p:cNvPr id="96" name="Graphic 95">
              <a:extLst>
                <a:ext uri="{FF2B5EF4-FFF2-40B4-BE49-F238E27FC236}">
                  <a16:creationId xmlns:a16="http://schemas.microsoft.com/office/drawing/2014/main" id="{677700AD-449C-473B-9B83-2C2AE102BBA9}"/>
                </a:ext>
                <a:ext uri="{C183D7F6-B498-43B3-948B-1728B52AA6E4}">
                  <adec:decorative xmlns:adec="http://schemas.microsoft.com/office/drawing/2017/decorative" val="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6304852" y="2015428"/>
              <a:ext cx="242212" cy="274320"/>
            </a:xfrm>
            <a:prstGeom prst="rect">
              <a:avLst/>
            </a:prstGeom>
          </p:spPr>
        </p:pic>
        <p:pic>
          <p:nvPicPr>
            <p:cNvPr id="97" name="Graphic 96">
              <a:extLst>
                <a:ext uri="{FF2B5EF4-FFF2-40B4-BE49-F238E27FC236}">
                  <a16:creationId xmlns:a16="http://schemas.microsoft.com/office/drawing/2014/main" id="{FB8F95E8-D151-4A0A-852D-94A508AF3BF3}"/>
                </a:ext>
                <a:ext uri="{C183D7F6-B498-43B3-948B-1728B52AA6E4}">
                  <adec:decorative xmlns:adec="http://schemas.microsoft.com/office/drawing/2017/decorative" val="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195818" y="1432785"/>
              <a:ext cx="242212" cy="274320"/>
            </a:xfrm>
            <a:prstGeom prst="rect">
              <a:avLst/>
            </a:prstGeom>
          </p:spPr>
        </p:pic>
        <p:pic>
          <p:nvPicPr>
            <p:cNvPr id="98" name="Graphic 97">
              <a:extLst>
                <a:ext uri="{FF2B5EF4-FFF2-40B4-BE49-F238E27FC236}">
                  <a16:creationId xmlns:a16="http://schemas.microsoft.com/office/drawing/2014/main" id="{03F99891-06B2-489F-9438-D08E51916BE8}"/>
                </a:ext>
                <a:ext uri="{C183D7F6-B498-43B3-948B-1728B52AA6E4}">
                  <adec:decorative xmlns:adec="http://schemas.microsoft.com/office/drawing/2017/decorative" val="1"/>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424531" y="1449601"/>
              <a:ext cx="242212" cy="274320"/>
            </a:xfrm>
            <a:prstGeom prst="rect">
              <a:avLst/>
            </a:prstGeom>
          </p:spPr>
        </p:pic>
        <p:pic>
          <p:nvPicPr>
            <p:cNvPr id="99" name="Graphic 98">
              <a:extLst>
                <a:ext uri="{FF2B5EF4-FFF2-40B4-BE49-F238E27FC236}">
                  <a16:creationId xmlns:a16="http://schemas.microsoft.com/office/drawing/2014/main" id="{412813A4-EE10-42B5-B68B-3D948FE02174}"/>
                </a:ext>
                <a:ext uri="{C183D7F6-B498-43B3-948B-1728B52AA6E4}">
                  <adec:decorative xmlns:adec="http://schemas.microsoft.com/office/drawing/2017/decorative" val="1"/>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8525114" y="2002959"/>
              <a:ext cx="274320" cy="310684"/>
            </a:xfrm>
            <a:prstGeom prst="rect">
              <a:avLst/>
            </a:prstGeom>
          </p:spPr>
        </p:pic>
        <p:grpSp>
          <p:nvGrpSpPr>
            <p:cNvPr id="100" name="Group 99">
              <a:extLst>
                <a:ext uri="{FF2B5EF4-FFF2-40B4-BE49-F238E27FC236}">
                  <a16:creationId xmlns:a16="http://schemas.microsoft.com/office/drawing/2014/main" id="{EBABFFF4-76D2-4EA4-989C-5E484EB856BA}"/>
                </a:ext>
                <a:ext uri="{C183D7F6-B498-43B3-948B-1728B52AA6E4}">
                  <adec:decorative xmlns:adec="http://schemas.microsoft.com/office/drawing/2017/decorative" val="1"/>
                </a:ext>
              </a:extLst>
            </p:cNvPr>
            <p:cNvGrpSpPr/>
            <p:nvPr/>
          </p:nvGrpSpPr>
          <p:grpSpPr>
            <a:xfrm>
              <a:off x="2440996" y="1245435"/>
              <a:ext cx="1214049" cy="536971"/>
              <a:chOff x="1818469" y="893698"/>
              <a:chExt cx="1374983" cy="536971"/>
            </a:xfrm>
          </p:grpSpPr>
          <p:sp>
            <p:nvSpPr>
              <p:cNvPr id="130" name="Rectangle 129">
                <a:extLst>
                  <a:ext uri="{FF2B5EF4-FFF2-40B4-BE49-F238E27FC236}">
                    <a16:creationId xmlns:a16="http://schemas.microsoft.com/office/drawing/2014/main" id="{9B25C54F-BF83-46DD-87EB-D072E03A0BD4}"/>
                  </a:ext>
                </a:extLst>
              </p:cNvPr>
              <p:cNvSpPr/>
              <p:nvPr/>
            </p:nvSpPr>
            <p:spPr bwMode="auto">
              <a:xfrm>
                <a:off x="1881445" y="893698"/>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31" name="TextBox 130">
                <a:extLst>
                  <a:ext uri="{FF2B5EF4-FFF2-40B4-BE49-F238E27FC236}">
                    <a16:creationId xmlns:a16="http://schemas.microsoft.com/office/drawing/2014/main" id="{6EEEBF58-6375-45C2-8F61-E5F0901AA389}"/>
                  </a:ext>
                </a:extLst>
              </p:cNvPr>
              <p:cNvSpPr txBox="1"/>
              <p:nvPr/>
            </p:nvSpPr>
            <p:spPr>
              <a:xfrm>
                <a:off x="1818469" y="893698"/>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Policy</a:t>
                </a:r>
              </a:p>
            </p:txBody>
          </p:sp>
        </p:grpSp>
        <p:grpSp>
          <p:nvGrpSpPr>
            <p:cNvPr id="101" name="Group 100">
              <a:extLst>
                <a:ext uri="{FF2B5EF4-FFF2-40B4-BE49-F238E27FC236}">
                  <a16:creationId xmlns:a16="http://schemas.microsoft.com/office/drawing/2014/main" id="{1BD21381-CF70-44FD-81AE-E5B1CCC7F0B8}"/>
                </a:ext>
                <a:ext uri="{C183D7F6-B498-43B3-948B-1728B52AA6E4}">
                  <adec:decorative xmlns:adec="http://schemas.microsoft.com/office/drawing/2017/decorative" val="1"/>
                </a:ext>
              </a:extLst>
            </p:cNvPr>
            <p:cNvGrpSpPr/>
            <p:nvPr/>
          </p:nvGrpSpPr>
          <p:grpSpPr>
            <a:xfrm>
              <a:off x="2440996" y="1813144"/>
              <a:ext cx="1214049" cy="536971"/>
              <a:chOff x="3438765" y="892073"/>
              <a:chExt cx="1374983" cy="536971"/>
            </a:xfrm>
          </p:grpSpPr>
          <p:sp>
            <p:nvSpPr>
              <p:cNvPr id="128" name="Rectangle 127">
                <a:extLst>
                  <a:ext uri="{FF2B5EF4-FFF2-40B4-BE49-F238E27FC236}">
                    <a16:creationId xmlns:a16="http://schemas.microsoft.com/office/drawing/2014/main" id="{B8E6C975-7EE4-4770-9195-4E98155BDC90}"/>
                  </a:ext>
                </a:extLst>
              </p:cNvPr>
              <p:cNvSpPr/>
              <p:nvPr/>
            </p:nvSpPr>
            <p:spPr bwMode="auto">
              <a:xfrm>
                <a:off x="3501741" y="892073"/>
                <a:ext cx="1249032" cy="536971"/>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29" name="TextBox 128">
                <a:extLst>
                  <a:ext uri="{FF2B5EF4-FFF2-40B4-BE49-F238E27FC236}">
                    <a16:creationId xmlns:a16="http://schemas.microsoft.com/office/drawing/2014/main" id="{45B3569D-32D2-4073-AD3B-6162FACB63C3}"/>
                  </a:ext>
                </a:extLst>
              </p:cNvPr>
              <p:cNvSpPr txBox="1"/>
              <p:nvPr/>
            </p:nvSpPr>
            <p:spPr>
              <a:xfrm>
                <a:off x="3438765" y="892073"/>
                <a:ext cx="1374983"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Azure Security Center</a:t>
                </a:r>
              </a:p>
            </p:txBody>
          </p:sp>
        </p:grpSp>
        <p:pic>
          <p:nvPicPr>
            <p:cNvPr id="102" name="Graphic 101">
              <a:extLst>
                <a:ext uri="{FF2B5EF4-FFF2-40B4-BE49-F238E27FC236}">
                  <a16:creationId xmlns:a16="http://schemas.microsoft.com/office/drawing/2014/main" id="{73FBCC9F-D1A2-473F-8FFB-180844AC6FB7}"/>
                </a:ext>
                <a:ext uri="{C183D7F6-B498-43B3-948B-1728B52AA6E4}">
                  <adec:decorative xmlns:adec="http://schemas.microsoft.com/office/drawing/2017/decorative" val="1"/>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2924813" y="1460768"/>
              <a:ext cx="242212" cy="274320"/>
            </a:xfrm>
            <a:prstGeom prst="rect">
              <a:avLst/>
            </a:prstGeom>
          </p:spPr>
        </p:pic>
        <p:pic>
          <p:nvPicPr>
            <p:cNvPr id="103" name="Graphic 102">
              <a:extLst>
                <a:ext uri="{FF2B5EF4-FFF2-40B4-BE49-F238E27FC236}">
                  <a16:creationId xmlns:a16="http://schemas.microsoft.com/office/drawing/2014/main" id="{86BBA712-60A5-48A1-9541-9B381E3974DC}"/>
                </a:ext>
                <a:ext uri="{C183D7F6-B498-43B3-948B-1728B52AA6E4}">
                  <adec:decorative xmlns:adec="http://schemas.microsoft.com/office/drawing/2017/decorative" val="1"/>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2916212" y="2014068"/>
              <a:ext cx="242212" cy="274320"/>
            </a:xfrm>
            <a:prstGeom prst="rect">
              <a:avLst/>
            </a:prstGeom>
          </p:spPr>
        </p:pic>
        <p:grpSp>
          <p:nvGrpSpPr>
            <p:cNvPr id="104" name="Group 103">
              <a:extLst>
                <a:ext uri="{FF2B5EF4-FFF2-40B4-BE49-F238E27FC236}">
                  <a16:creationId xmlns:a16="http://schemas.microsoft.com/office/drawing/2014/main" id="{E3121449-8B77-4B73-8527-41AD1E13CFE2}"/>
                </a:ext>
                <a:ext uri="{C183D7F6-B498-43B3-948B-1728B52AA6E4}">
                  <adec:decorative xmlns:adec="http://schemas.microsoft.com/office/drawing/2017/decorative" val="1"/>
                </a:ext>
              </a:extLst>
            </p:cNvPr>
            <p:cNvGrpSpPr/>
            <p:nvPr/>
          </p:nvGrpSpPr>
          <p:grpSpPr>
            <a:xfrm>
              <a:off x="2496600" y="2379557"/>
              <a:ext cx="7856397" cy="226129"/>
              <a:chOff x="2316142" y="1542219"/>
              <a:chExt cx="8547028" cy="333995"/>
            </a:xfrm>
          </p:grpSpPr>
          <p:sp>
            <p:nvSpPr>
              <p:cNvPr id="122" name="Rectangle 121">
                <a:extLst>
                  <a:ext uri="{FF2B5EF4-FFF2-40B4-BE49-F238E27FC236}">
                    <a16:creationId xmlns:a16="http://schemas.microsoft.com/office/drawing/2014/main" id="{B0C88B04-3F63-4C71-AE0E-7715F6956C96}"/>
                  </a:ext>
                </a:extLst>
              </p:cNvPr>
              <p:cNvSpPr/>
              <p:nvPr/>
            </p:nvSpPr>
            <p:spPr bwMode="auto">
              <a:xfrm>
                <a:off x="2316142" y="1542686"/>
                <a:ext cx="1374983" cy="329185"/>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Resource Inventory</a:t>
                </a:r>
              </a:p>
            </p:txBody>
          </p:sp>
          <p:sp>
            <p:nvSpPr>
              <p:cNvPr id="123" name="Rectangle 122">
                <a:extLst>
                  <a:ext uri="{FF2B5EF4-FFF2-40B4-BE49-F238E27FC236}">
                    <a16:creationId xmlns:a16="http://schemas.microsoft.com/office/drawing/2014/main" id="{5D4BF2A6-9EEF-4AF1-9110-C7C6B945C5EA}"/>
                  </a:ext>
                </a:extLst>
              </p:cNvPr>
              <p:cNvSpPr/>
              <p:nvPr/>
            </p:nvSpPr>
            <p:spPr bwMode="auto">
              <a:xfrm>
                <a:off x="3752051" y="1542865"/>
                <a:ext cx="1374983" cy="329185"/>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Billing</a:t>
                </a:r>
              </a:p>
            </p:txBody>
          </p:sp>
          <p:sp>
            <p:nvSpPr>
              <p:cNvPr id="124" name="Rectangle 123">
                <a:extLst>
                  <a:ext uri="{FF2B5EF4-FFF2-40B4-BE49-F238E27FC236}">
                    <a16:creationId xmlns:a16="http://schemas.microsoft.com/office/drawing/2014/main" id="{CE487828-2471-4953-93F8-F5763B037F19}"/>
                  </a:ext>
                </a:extLst>
              </p:cNvPr>
              <p:cNvSpPr/>
              <p:nvPr/>
            </p:nvSpPr>
            <p:spPr bwMode="auto">
              <a:xfrm>
                <a:off x="5188224" y="1542686"/>
                <a:ext cx="1374983" cy="329185"/>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Monitoring &amp; Logs</a:t>
                </a:r>
              </a:p>
            </p:txBody>
          </p:sp>
          <p:sp>
            <p:nvSpPr>
              <p:cNvPr id="125" name="Rectangle 124">
                <a:extLst>
                  <a:ext uri="{FF2B5EF4-FFF2-40B4-BE49-F238E27FC236}">
                    <a16:creationId xmlns:a16="http://schemas.microsoft.com/office/drawing/2014/main" id="{9E994EE0-AE19-4830-AE8B-D26313178712}"/>
                  </a:ext>
                </a:extLst>
              </p:cNvPr>
              <p:cNvSpPr/>
              <p:nvPr/>
            </p:nvSpPr>
            <p:spPr bwMode="auto">
              <a:xfrm>
                <a:off x="6621545" y="1542219"/>
                <a:ext cx="1374983" cy="329185"/>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Secrets Management</a:t>
                </a:r>
              </a:p>
            </p:txBody>
          </p:sp>
          <p:sp>
            <p:nvSpPr>
              <p:cNvPr id="126" name="Rectangle 125">
                <a:extLst>
                  <a:ext uri="{FF2B5EF4-FFF2-40B4-BE49-F238E27FC236}">
                    <a16:creationId xmlns:a16="http://schemas.microsoft.com/office/drawing/2014/main" id="{633D916D-18E0-46DD-BC6D-DA755D389EC4}"/>
                  </a:ext>
                </a:extLst>
              </p:cNvPr>
              <p:cNvSpPr/>
              <p:nvPr/>
            </p:nvSpPr>
            <p:spPr bwMode="auto">
              <a:xfrm>
                <a:off x="8054866" y="1542219"/>
                <a:ext cx="1374983" cy="329185"/>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Governance</a:t>
                </a:r>
              </a:p>
            </p:txBody>
          </p:sp>
          <p:sp>
            <p:nvSpPr>
              <p:cNvPr id="127" name="Rectangle 126">
                <a:extLst>
                  <a:ext uri="{FF2B5EF4-FFF2-40B4-BE49-F238E27FC236}">
                    <a16:creationId xmlns:a16="http://schemas.microsoft.com/office/drawing/2014/main" id="{30C9851C-BF73-4592-A0EA-672C67369A97}"/>
                  </a:ext>
                </a:extLst>
              </p:cNvPr>
              <p:cNvSpPr/>
              <p:nvPr/>
            </p:nvSpPr>
            <p:spPr bwMode="auto">
              <a:xfrm>
                <a:off x="9488187" y="1547029"/>
                <a:ext cx="1374983" cy="329185"/>
              </a:xfrm>
              <a:prstGeom prst="rect">
                <a:avLst/>
              </a:prstGeom>
              <a:solidFill>
                <a:srgbClr val="000000"/>
              </a:solidFill>
              <a:ln w="3175" cap="flat" cmpd="sng" algn="ctr">
                <a:solidFill>
                  <a:schemeClr val="accent1"/>
                </a:solidFill>
                <a:prstDash val="solid"/>
                <a:headEnd type="none" w="med" len="med"/>
                <a:tailEnd type="none" w="med" len="med"/>
              </a:ln>
              <a:effectLst>
                <a:outerShdw blurRad="571500" algn="tl" rotWithShape="0">
                  <a:srgbClr val="0078D4">
                    <a:alpha val="70000"/>
                  </a:srgbClr>
                </a:outerShdw>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0E6FF"/>
                    </a:solidFill>
                    <a:effectLst/>
                    <a:uLnTx/>
                    <a:uFillTx/>
                    <a:latin typeface="Segoe UI Semibold"/>
                    <a:ea typeface="+mn-ea"/>
                    <a:cs typeface="Segoe UI" pitchFamily="34" charset="0"/>
                  </a:rPr>
                  <a:t>Compliance &amp; Security</a:t>
                </a:r>
              </a:p>
            </p:txBody>
          </p:sp>
        </p:grpSp>
      </p:grpSp>
      <p:grpSp>
        <p:nvGrpSpPr>
          <p:cNvPr id="238" name="Group 237">
            <a:extLst>
              <a:ext uri="{FF2B5EF4-FFF2-40B4-BE49-F238E27FC236}">
                <a16:creationId xmlns:a16="http://schemas.microsoft.com/office/drawing/2014/main" id="{0A28AB66-D534-4622-89B6-4799737DA553}"/>
              </a:ext>
            </a:extLst>
          </p:cNvPr>
          <p:cNvGrpSpPr/>
          <p:nvPr/>
        </p:nvGrpSpPr>
        <p:grpSpPr>
          <a:xfrm>
            <a:off x="975321" y="2798812"/>
            <a:ext cx="3703184" cy="3457716"/>
            <a:chOff x="7300463" y="2105084"/>
            <a:chExt cx="4711459" cy="4273192"/>
          </a:xfrm>
        </p:grpSpPr>
        <p:grpSp>
          <p:nvGrpSpPr>
            <p:cNvPr id="239" name="Group 238">
              <a:extLst>
                <a:ext uri="{FF2B5EF4-FFF2-40B4-BE49-F238E27FC236}">
                  <a16:creationId xmlns:a16="http://schemas.microsoft.com/office/drawing/2014/main" id="{27C9F421-4629-48AD-8FDB-7123F2CAD9D6}"/>
                </a:ext>
              </a:extLst>
            </p:cNvPr>
            <p:cNvGrpSpPr/>
            <p:nvPr/>
          </p:nvGrpSpPr>
          <p:grpSpPr>
            <a:xfrm>
              <a:off x="7300463" y="2105084"/>
              <a:ext cx="4711459" cy="3500103"/>
              <a:chOff x="377290" y="2105084"/>
              <a:chExt cx="4711459" cy="3500103"/>
            </a:xfrm>
          </p:grpSpPr>
          <p:sp>
            <p:nvSpPr>
              <p:cNvPr id="241" name="Freeform: Shape 240">
                <a:extLst>
                  <a:ext uri="{FF2B5EF4-FFF2-40B4-BE49-F238E27FC236}">
                    <a16:creationId xmlns:a16="http://schemas.microsoft.com/office/drawing/2014/main" id="{0AF0A609-3A59-4A70-9D30-A0CC199F5DDA}"/>
                  </a:ext>
                </a:extLst>
              </p:cNvPr>
              <p:cNvSpPr/>
              <p:nvPr/>
            </p:nvSpPr>
            <p:spPr>
              <a:xfrm>
                <a:off x="1980609" y="2105084"/>
                <a:ext cx="1504819" cy="1147023"/>
              </a:xfrm>
              <a:custGeom>
                <a:avLst/>
                <a:gdLst>
                  <a:gd name="connsiteX0" fmla="*/ 0 w 1504819"/>
                  <a:gd name="connsiteY0" fmla="*/ 1147023 h 1147023"/>
                  <a:gd name="connsiteX1" fmla="*/ 752410 w 1504819"/>
                  <a:gd name="connsiteY1" fmla="*/ 0 h 1147023"/>
                  <a:gd name="connsiteX2" fmla="*/ 752410 w 1504819"/>
                  <a:gd name="connsiteY2" fmla="*/ 0 h 1147023"/>
                  <a:gd name="connsiteX3" fmla="*/ 1504819 w 1504819"/>
                  <a:gd name="connsiteY3" fmla="*/ 1147023 h 1147023"/>
                  <a:gd name="connsiteX4" fmla="*/ 0 w 1504819"/>
                  <a:gd name="connsiteY4" fmla="*/ 1147023 h 114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819" h="1147023">
                    <a:moveTo>
                      <a:pt x="0" y="1147023"/>
                    </a:moveTo>
                    <a:lnTo>
                      <a:pt x="752410" y="0"/>
                    </a:lnTo>
                    <a:lnTo>
                      <a:pt x="752410" y="0"/>
                    </a:lnTo>
                    <a:lnTo>
                      <a:pt x="1504819" y="1147023"/>
                    </a:lnTo>
                    <a:lnTo>
                      <a:pt x="0" y="1147023"/>
                    </a:lnTo>
                    <a:close/>
                  </a:path>
                </a:pathLst>
              </a:custGeom>
              <a:solidFill>
                <a:srgbClr val="506289"/>
              </a:solidFill>
            </p:spPr>
            <p:style>
              <a:lnRef idx="2">
                <a:schemeClr val="lt1">
                  <a:hueOff val="0"/>
                  <a:satOff val="0"/>
                  <a:lumOff val="0"/>
                  <a:alphaOff val="0"/>
                </a:schemeClr>
              </a:lnRef>
              <a:fillRef idx="1">
                <a:scrgbClr r="0" g="0" b="0"/>
              </a:fillRef>
              <a:effectRef idx="0">
                <a:schemeClr val="accent2">
                  <a:shade val="80000"/>
                  <a:hueOff val="0"/>
                  <a:satOff val="0"/>
                  <a:lumOff val="0"/>
                  <a:alphaOff val="0"/>
                </a:schemeClr>
              </a:effectRef>
              <a:fontRef idx="minor">
                <a:schemeClr val="lt1"/>
              </a:fontRef>
            </p:style>
            <p:txBody>
              <a:bodyPr spcFirstLastPara="0" vert="horz" wrap="square" lIns="13970" tIns="13970" rIns="13970" bIns="13970" numCol="1" spcCol="1270" anchor="ctr" anchorCtr="0">
                <a:no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ctr" defTabSz="488950" rtl="0" eaLnBrk="1" fontAlgn="auto" latinLnBrk="0" hangingPunct="1">
                  <a:lnSpc>
                    <a:spcPct val="90000"/>
                  </a:lnSpc>
                  <a:spcBef>
                    <a:spcPct val="0"/>
                  </a:spcBef>
                  <a:spcAft>
                    <a:spcPct val="350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SAP</a:t>
                </a:r>
              </a:p>
              <a:p>
                <a:pPr marL="0" marR="0" lvl="0" indent="0" algn="ctr" defTabSz="488950" rtl="0" eaLnBrk="1" fontAlgn="auto" latinLnBrk="0" hangingPunct="1">
                  <a:lnSpc>
                    <a:spcPct val="90000"/>
                  </a:lnSpc>
                  <a:spcBef>
                    <a:spcPct val="0"/>
                  </a:spcBef>
                  <a:spcAft>
                    <a:spcPct val="3500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242" name="Freeform: Shape 241">
                <a:extLst>
                  <a:ext uri="{FF2B5EF4-FFF2-40B4-BE49-F238E27FC236}">
                    <a16:creationId xmlns:a16="http://schemas.microsoft.com/office/drawing/2014/main" id="{73C29B9C-5D97-4CAA-890C-402D18F85137}"/>
                  </a:ext>
                </a:extLst>
              </p:cNvPr>
              <p:cNvSpPr/>
              <p:nvPr/>
            </p:nvSpPr>
            <p:spPr>
              <a:xfrm>
                <a:off x="1188353" y="3270991"/>
                <a:ext cx="3103867" cy="1147023"/>
              </a:xfrm>
              <a:custGeom>
                <a:avLst/>
                <a:gdLst>
                  <a:gd name="connsiteX0" fmla="*/ 0 w 3048238"/>
                  <a:gd name="connsiteY0" fmla="*/ 1147023 h 1147023"/>
                  <a:gd name="connsiteX1" fmla="*/ 773851 w 3048238"/>
                  <a:gd name="connsiteY1" fmla="*/ 0 h 1147023"/>
                  <a:gd name="connsiteX2" fmla="*/ 2274387 w 3048238"/>
                  <a:gd name="connsiteY2" fmla="*/ 0 h 1147023"/>
                  <a:gd name="connsiteX3" fmla="*/ 3048238 w 3048238"/>
                  <a:gd name="connsiteY3" fmla="*/ 1147023 h 1147023"/>
                  <a:gd name="connsiteX4" fmla="*/ 0 w 3048238"/>
                  <a:gd name="connsiteY4" fmla="*/ 1147023 h 114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238" h="1147023">
                    <a:moveTo>
                      <a:pt x="0" y="1147023"/>
                    </a:moveTo>
                    <a:lnTo>
                      <a:pt x="773851" y="0"/>
                    </a:lnTo>
                    <a:lnTo>
                      <a:pt x="2274387" y="0"/>
                    </a:lnTo>
                    <a:lnTo>
                      <a:pt x="3048238" y="1147023"/>
                    </a:lnTo>
                    <a:lnTo>
                      <a:pt x="0" y="1147023"/>
                    </a:lnTo>
                    <a:close/>
                  </a:path>
                </a:pathLst>
              </a:custGeom>
              <a:solidFill>
                <a:srgbClr val="203454"/>
              </a:solidFill>
            </p:spPr>
            <p:style>
              <a:lnRef idx="2">
                <a:schemeClr val="lt1">
                  <a:hueOff val="0"/>
                  <a:satOff val="0"/>
                  <a:lumOff val="0"/>
                  <a:alphaOff val="0"/>
                </a:schemeClr>
              </a:lnRef>
              <a:fillRef idx="1">
                <a:scrgbClr r="0" g="0" b="0"/>
              </a:fillRef>
              <a:effectRef idx="0">
                <a:schemeClr val="accent2">
                  <a:shade val="80000"/>
                  <a:hueOff val="70757"/>
                  <a:satOff val="11526"/>
                  <a:lumOff val="11097"/>
                  <a:alphaOff val="0"/>
                </a:schemeClr>
              </a:effectRef>
              <a:fontRef idx="minor">
                <a:schemeClr val="lt1"/>
              </a:fontRef>
            </p:style>
            <p:txBody>
              <a:bodyPr spcFirstLastPara="0" vert="horz" wrap="square" lIns="553762" tIns="20320" rIns="553762" bIns="2032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Internal </a:t>
                </a:r>
              </a:p>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AVD, corporate apps, etc.)</a:t>
                </a:r>
                <a:endParaRPr kumimoji="0" lang="en-US" sz="18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243" name="Freeform: Shape 242">
                <a:extLst>
                  <a:ext uri="{FF2B5EF4-FFF2-40B4-BE49-F238E27FC236}">
                    <a16:creationId xmlns:a16="http://schemas.microsoft.com/office/drawing/2014/main" id="{3FDA2C3F-D528-46AE-AE7F-BD19B11A5EDA}"/>
                  </a:ext>
                </a:extLst>
              </p:cNvPr>
              <p:cNvSpPr/>
              <p:nvPr/>
            </p:nvSpPr>
            <p:spPr>
              <a:xfrm>
                <a:off x="377290" y="4458164"/>
                <a:ext cx="4711459" cy="1147023"/>
              </a:xfrm>
              <a:custGeom>
                <a:avLst/>
                <a:gdLst>
                  <a:gd name="connsiteX0" fmla="*/ 0 w 4643071"/>
                  <a:gd name="connsiteY0" fmla="*/ 1147023 h 1147023"/>
                  <a:gd name="connsiteX1" fmla="*/ 773851 w 4643071"/>
                  <a:gd name="connsiteY1" fmla="*/ 0 h 1147023"/>
                  <a:gd name="connsiteX2" fmla="*/ 3869220 w 4643071"/>
                  <a:gd name="connsiteY2" fmla="*/ 0 h 1147023"/>
                  <a:gd name="connsiteX3" fmla="*/ 4643071 w 4643071"/>
                  <a:gd name="connsiteY3" fmla="*/ 1147023 h 1147023"/>
                  <a:gd name="connsiteX4" fmla="*/ 0 w 4643071"/>
                  <a:gd name="connsiteY4" fmla="*/ 1147023 h 114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3071" h="1147023">
                    <a:moveTo>
                      <a:pt x="0" y="1147023"/>
                    </a:moveTo>
                    <a:lnTo>
                      <a:pt x="773851" y="0"/>
                    </a:lnTo>
                    <a:lnTo>
                      <a:pt x="3869220" y="0"/>
                    </a:lnTo>
                    <a:lnTo>
                      <a:pt x="4643071" y="1147023"/>
                    </a:lnTo>
                    <a:lnTo>
                      <a:pt x="0" y="1147023"/>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2">
                  <a:shade val="80000"/>
                  <a:hueOff val="141514"/>
                  <a:satOff val="23052"/>
                  <a:lumOff val="22193"/>
                  <a:alphaOff val="0"/>
                </a:schemeClr>
              </a:effectRef>
              <a:fontRef idx="minor">
                <a:schemeClr val="lt1"/>
              </a:fontRef>
            </p:style>
            <p:txBody>
              <a:bodyPr spcFirstLastPara="0" vert="horz" wrap="square" lIns="832857" tIns="20320" rIns="832858" bIns="2032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External </a:t>
                </a:r>
              </a:p>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mn-cs"/>
                  </a:rPr>
                  <a:t>(web presence, external customer apps, etc.)</a:t>
                </a:r>
                <a:endParaRPr kumimoji="0" lang="en-US" sz="1800" b="1"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40" name="TextBox 239">
              <a:extLst>
                <a:ext uri="{FF2B5EF4-FFF2-40B4-BE49-F238E27FC236}">
                  <a16:creationId xmlns:a16="http://schemas.microsoft.com/office/drawing/2014/main" id="{9EAAB7E8-9384-4FC5-98D0-9AC774911DCA}"/>
                </a:ext>
              </a:extLst>
            </p:cNvPr>
            <p:cNvSpPr txBox="1"/>
            <p:nvPr/>
          </p:nvSpPr>
          <p:spPr>
            <a:xfrm>
              <a:off x="8131291" y="5921840"/>
              <a:ext cx="2685964" cy="45643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Landing Zones</a:t>
              </a:r>
            </a:p>
          </p:txBody>
        </p:sp>
      </p:grpSp>
    </p:spTree>
    <p:extLst>
      <p:ext uri="{BB962C8B-B14F-4D97-AF65-F5344CB8AC3E}">
        <p14:creationId xmlns:p14="http://schemas.microsoft.com/office/powerpoint/2010/main" val="3071948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112325"/>
            <a:ext cx="12192000" cy="553998"/>
          </a:xfrm>
        </p:spPr>
        <p:txBody>
          <a:bodyPr wrap="square" anchor="t">
            <a:normAutofit/>
          </a:bodyPr>
          <a:lstStyle/>
          <a:p>
            <a:pPr algn="ctr"/>
            <a:r>
              <a:rPr lang="en-US"/>
              <a:t>Enterprise Agreement</a:t>
            </a:r>
          </a:p>
        </p:txBody>
      </p:sp>
      <p:sp>
        <p:nvSpPr>
          <p:cNvPr id="4" name="TextBox 3">
            <a:extLst>
              <a:ext uri="{FF2B5EF4-FFF2-40B4-BE49-F238E27FC236}">
                <a16:creationId xmlns:a16="http://schemas.microsoft.com/office/drawing/2014/main" id="{59384D06-2AD5-44D7-9287-03B706CFE2D7}"/>
              </a:ext>
            </a:extLst>
          </p:cNvPr>
          <p:cNvSpPr txBox="1"/>
          <p:nvPr/>
        </p:nvSpPr>
        <p:spPr>
          <a:xfrm>
            <a:off x="588263" y="2197893"/>
            <a:ext cx="5110172" cy="2462213"/>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000" spc="-50">
                <a:ln w="3175">
                  <a:noFill/>
                </a:ln>
                <a:latin typeface="+mj-lt"/>
                <a:cs typeface="Segoe UI" panose="020B0502040204020203" pitchFamily="34" charset="0"/>
              </a:rPr>
              <a:t>Represents the commercial agreement between you and Microsoft</a:t>
            </a:r>
          </a:p>
          <a:p>
            <a:pPr marL="342900" indent="-342900" algn="l">
              <a:buFont typeface="Arial" panose="020B0604020202020204" pitchFamily="34" charset="0"/>
              <a:buChar char="•"/>
            </a:pPr>
            <a:r>
              <a:rPr lang="en-US" sz="2000" spc="-50">
                <a:ln w="3175">
                  <a:noFill/>
                </a:ln>
                <a:latin typeface="+mj-lt"/>
                <a:cs typeface="Segoe UI" panose="020B0502040204020203" pitchFamily="34" charset="0"/>
              </a:rPr>
              <a:t>Departments segment the enrollment into logical groupings</a:t>
            </a:r>
          </a:p>
          <a:p>
            <a:pPr marL="342900" indent="-342900" algn="l">
              <a:buFont typeface="Arial" panose="020B0604020202020204" pitchFamily="34" charset="0"/>
              <a:buChar char="•"/>
            </a:pPr>
            <a:r>
              <a:rPr lang="en-US" sz="2000" spc="-50">
                <a:ln w="3175">
                  <a:noFill/>
                </a:ln>
                <a:latin typeface="+mj-lt"/>
                <a:cs typeface="Segoe UI" panose="020B0502040204020203" pitchFamily="34" charset="0"/>
              </a:rPr>
              <a:t>Accounts are organizational units in the EA Portal</a:t>
            </a:r>
          </a:p>
          <a:p>
            <a:pPr marL="342900" indent="-342900" algn="l">
              <a:buFont typeface="Arial" panose="020B0604020202020204" pitchFamily="34" charset="0"/>
              <a:buChar char="•"/>
            </a:pPr>
            <a:r>
              <a:rPr lang="en-US" sz="2000" spc="-50">
                <a:ln w="3175">
                  <a:noFill/>
                </a:ln>
                <a:latin typeface="+mj-lt"/>
                <a:cs typeface="Segoe UI" panose="020B0502040204020203" pitchFamily="34" charset="0"/>
              </a:rPr>
              <a:t>Account Owners are allowed to provision new Subscriptions in the EA</a:t>
            </a:r>
          </a:p>
        </p:txBody>
      </p:sp>
      <p:pic>
        <p:nvPicPr>
          <p:cNvPr id="9" name="Content Placeholder 8" descr="Diagram&#10;&#10;Description automatically generated">
            <a:extLst>
              <a:ext uri="{FF2B5EF4-FFF2-40B4-BE49-F238E27FC236}">
                <a16:creationId xmlns:a16="http://schemas.microsoft.com/office/drawing/2014/main" id="{77B38B60-4E80-4386-B36F-5B38C67D88B7}"/>
              </a:ext>
            </a:extLst>
          </p:cNvPr>
          <p:cNvPicPr>
            <a:picLocks noGrp="1" noChangeAspect="1"/>
          </p:cNvPicPr>
          <p:nvPr>
            <p:ph sz="quarter" idx="10"/>
          </p:nvPr>
        </p:nvPicPr>
        <p:blipFill>
          <a:blip r:embed="rId3"/>
          <a:stretch>
            <a:fillRect/>
          </a:stretch>
        </p:blipFill>
        <p:spPr>
          <a:xfrm>
            <a:off x="6000787" y="1572438"/>
            <a:ext cx="5965161" cy="352486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5" name="Straight Connector 4">
            <a:extLst>
              <a:ext uri="{FF2B5EF4-FFF2-40B4-BE49-F238E27FC236}">
                <a16:creationId xmlns:a16="http://schemas.microsoft.com/office/drawing/2014/main" id="{572E02FC-2ECF-4B60-8A83-D6D4CF6B3366}"/>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7010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89988-DBBE-4995-A971-E9E08105E14F}"/>
              </a:ext>
            </a:extLst>
          </p:cNvPr>
          <p:cNvSpPr>
            <a:spLocks noGrp="1"/>
          </p:cNvSpPr>
          <p:nvPr>
            <p:ph type="title"/>
          </p:nvPr>
        </p:nvSpPr>
        <p:spPr>
          <a:xfrm>
            <a:off x="0" y="333888"/>
            <a:ext cx="12192000" cy="781665"/>
          </a:xfrm>
          <a:prstGeom prst="rect">
            <a:avLst/>
          </a:prstGeom>
        </p:spPr>
        <p:txBody>
          <a:bodyPr wrap="square" anchor="ctr">
            <a:noAutofit/>
          </a:bodyPr>
          <a:lstStyle/>
          <a:p>
            <a:pPr algn="ctr"/>
            <a:r>
              <a:rPr lang="en-GB" dirty="0"/>
              <a:t>Microsoft Enrolment and Azure AD Tenants</a:t>
            </a:r>
            <a:br>
              <a:rPr lang="en-GB" dirty="0"/>
            </a:br>
            <a:endParaRPr lang="en-GB" dirty="0"/>
          </a:p>
        </p:txBody>
      </p:sp>
      <p:sp>
        <p:nvSpPr>
          <p:cNvPr id="3" name="Content Placeholder 2">
            <a:extLst>
              <a:ext uri="{FF2B5EF4-FFF2-40B4-BE49-F238E27FC236}">
                <a16:creationId xmlns:a16="http://schemas.microsoft.com/office/drawing/2014/main" id="{2C63DFDA-8637-4082-A042-07C920B63B05}"/>
              </a:ext>
            </a:extLst>
          </p:cNvPr>
          <p:cNvSpPr>
            <a:spLocks noGrp="1"/>
          </p:cNvSpPr>
          <p:nvPr>
            <p:ph idx="1"/>
          </p:nvPr>
        </p:nvSpPr>
        <p:spPr>
          <a:xfrm>
            <a:off x="285875" y="1250466"/>
            <a:ext cx="6734357" cy="3174051"/>
          </a:xfrm>
          <a:prstGeom prst="rect">
            <a:avLst/>
          </a:prstGeom>
        </p:spPr>
        <p:txBody>
          <a:bodyPr wrap="square" anchor="ctr">
            <a:noAutofit/>
          </a:bodyPr>
          <a:lstStyle/>
          <a:p>
            <a:pPr algn="l"/>
            <a:r>
              <a:rPr lang="en-US" sz="2400" b="0" i="0" dirty="0">
                <a:effectLst/>
                <a:latin typeface="+mn-lt"/>
              </a:rPr>
              <a:t>Enterprise enrollment roles links users with their </a:t>
            </a:r>
            <a:r>
              <a:rPr lang="en-US" sz="2400" b="1" i="0" dirty="0">
                <a:effectLst/>
                <a:latin typeface="+mn-lt"/>
              </a:rPr>
              <a:t>functional role </a:t>
            </a:r>
            <a:r>
              <a:rPr lang="en-US" sz="2400" b="0" i="0" dirty="0">
                <a:effectLst/>
                <a:latin typeface="+mn-lt"/>
              </a:rPr>
              <a:t>and consists of</a:t>
            </a:r>
          </a:p>
          <a:p>
            <a:pPr marL="514306" lvl="1" indent="-285750">
              <a:buFont typeface="Wingdings" panose="05000000000000000000" pitchFamily="2" charset="2"/>
              <a:buChar char="q"/>
            </a:pPr>
            <a:r>
              <a:rPr lang="en-US" sz="1800" b="0" i="0" dirty="0">
                <a:effectLst/>
                <a:latin typeface="+mn-lt"/>
              </a:rPr>
              <a:t>Enterprise Administrator</a:t>
            </a:r>
          </a:p>
          <a:p>
            <a:pPr marL="514306" lvl="1" indent="-285750">
              <a:buFont typeface="Wingdings" panose="05000000000000000000" pitchFamily="2" charset="2"/>
              <a:buChar char="q"/>
            </a:pPr>
            <a:r>
              <a:rPr lang="en-US" sz="1800" b="0" i="0" dirty="0">
                <a:effectLst/>
                <a:latin typeface="+mn-lt"/>
              </a:rPr>
              <a:t>Department Administrator</a:t>
            </a:r>
          </a:p>
          <a:p>
            <a:pPr marL="514306" lvl="1" indent="-285750">
              <a:buFont typeface="Wingdings" panose="05000000000000000000" pitchFamily="2" charset="2"/>
              <a:buChar char="q"/>
            </a:pPr>
            <a:r>
              <a:rPr lang="en-US" sz="1800" b="0" i="0" dirty="0">
                <a:effectLst/>
                <a:latin typeface="+mn-lt"/>
              </a:rPr>
              <a:t>Account Owner</a:t>
            </a:r>
          </a:p>
          <a:p>
            <a:pPr marL="514306" lvl="1" indent="-285750">
              <a:buFont typeface="Wingdings" panose="05000000000000000000" pitchFamily="2" charset="2"/>
              <a:buChar char="q"/>
            </a:pPr>
            <a:r>
              <a:rPr lang="en-US" sz="1800" b="0" i="0" dirty="0">
                <a:effectLst/>
                <a:latin typeface="+mn-lt"/>
              </a:rPr>
              <a:t>Service Administrator</a:t>
            </a:r>
          </a:p>
          <a:p>
            <a:pPr marL="514306" lvl="1" indent="-285750">
              <a:buFont typeface="Wingdings" panose="05000000000000000000" pitchFamily="2" charset="2"/>
              <a:buChar char="q"/>
            </a:pPr>
            <a:r>
              <a:rPr lang="en-US" sz="1800" b="0" i="0" dirty="0">
                <a:effectLst/>
                <a:latin typeface="+mn-lt"/>
              </a:rPr>
              <a:t>Notification Contact</a:t>
            </a:r>
          </a:p>
          <a:p>
            <a:pPr lvl="0"/>
            <a:endParaRPr lang="en-GB" sz="1961" dirty="0">
              <a:latin typeface="+mn-lt"/>
            </a:endParaRPr>
          </a:p>
        </p:txBody>
      </p:sp>
      <p:pic>
        <p:nvPicPr>
          <p:cNvPr id="4098" name="Picture 2" descr="CAF enterprise-scale landing zone architecture">
            <a:extLst>
              <a:ext uri="{FF2B5EF4-FFF2-40B4-BE49-F238E27FC236}">
                <a16:creationId xmlns:a16="http://schemas.microsoft.com/office/drawing/2014/main" id="{9BB21486-4A80-47B9-A22B-EDD1ABD2B7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893" r="14857" b="42005"/>
          <a:stretch/>
        </p:blipFill>
        <p:spPr bwMode="auto">
          <a:xfrm>
            <a:off x="5668245" y="1939982"/>
            <a:ext cx="5916369" cy="39783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13" name="Straight Connector 12">
            <a:extLst>
              <a:ext uri="{FF2B5EF4-FFF2-40B4-BE49-F238E27FC236}">
                <a16:creationId xmlns:a16="http://schemas.microsoft.com/office/drawing/2014/main" id="{BC12C92C-116D-42A6-A565-8DF35EC13F1E}"/>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97258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1D67ACEB-DBC4-4D01-9DF9-D5BDAF5B1629}"/>
              </a:ext>
            </a:extLst>
          </p:cNvPr>
          <p:cNvSpPr/>
          <p:nvPr/>
        </p:nvSpPr>
        <p:spPr bwMode="auto">
          <a:xfrm>
            <a:off x="409177" y="1096693"/>
            <a:ext cx="6652283" cy="29718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 rIns="179285" bIns="143428" numCol="1" spcCol="0" rtlCol="0" fromWordArt="0" anchor="t" anchorCtr="0" forceAA="0" compatLnSpc="1">
            <a:prstTxWarp prst="textNoShape">
              <a:avLst/>
            </a:prstTxWarp>
            <a:spAutoFit/>
          </a:bodyPr>
          <a:lstStyle/>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Management Group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Management Group Hierarch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tx1"/>
                </a:solidFill>
                <a:latin typeface="+mj-lt"/>
                <a:cs typeface="Segoe UI" pitchFamily="34" charset="0"/>
              </a:rPr>
              <a:t>Subscriptions</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 Organization and Governanc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ubscription Quota and Capacit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Enterprise Scale Landing Zone</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Session Summary</a:t>
            </a:r>
          </a:p>
          <a:p>
            <a:pPr marL="342900" indent="-342900" defTabSz="914102" fontAlgn="base">
              <a:lnSpc>
                <a:spcPct val="90000"/>
              </a:lnSpc>
              <a:spcBef>
                <a:spcPts val="588"/>
              </a:spcBef>
              <a:spcAft>
                <a:spcPct val="0"/>
              </a:spcAft>
              <a:buFont typeface="Arial" panose="020B0604020202020204" pitchFamily="34" charset="0"/>
              <a:buChar char="•"/>
              <a:defRPr/>
            </a:pPr>
            <a:r>
              <a:rPr lang="en-US" sz="2000" spc="-50">
                <a:ln w="3175">
                  <a:noFill/>
                </a:ln>
                <a:solidFill>
                  <a:schemeClr val="bg1">
                    <a:lumMod val="85000"/>
                    <a:lumOff val="15000"/>
                  </a:schemeClr>
                </a:solidFill>
                <a:latin typeface="+mj-lt"/>
                <a:cs typeface="Segoe UI" pitchFamily="34" charset="0"/>
              </a:rPr>
              <a:t>Next Steps</a:t>
            </a:r>
            <a:endParaRPr lang="en-US" sz="2000" spc="-50">
              <a:ln w="3175">
                <a:noFill/>
              </a:ln>
              <a:solidFill>
                <a:schemeClr val="tx1"/>
              </a:solidFill>
              <a:latin typeface="+mj-lt"/>
              <a:cs typeface="Segoe UI" pitchFamily="34" charset="0"/>
            </a:endParaRPr>
          </a:p>
        </p:txBody>
      </p:sp>
    </p:spTree>
    <p:extLst>
      <p:ext uri="{BB962C8B-B14F-4D97-AF65-F5344CB8AC3E}">
        <p14:creationId xmlns:p14="http://schemas.microsoft.com/office/powerpoint/2010/main" val="1951771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2DD4E-DDB8-49CB-82D1-935E4AADC8F0}"/>
              </a:ext>
            </a:extLst>
          </p:cNvPr>
          <p:cNvSpPr>
            <a:spLocks noGrp="1"/>
          </p:cNvSpPr>
          <p:nvPr>
            <p:ph type="title"/>
          </p:nvPr>
        </p:nvSpPr>
        <p:spPr>
          <a:xfrm>
            <a:off x="0" y="199622"/>
            <a:ext cx="12286445" cy="553998"/>
          </a:xfrm>
        </p:spPr>
        <p:txBody>
          <a:bodyPr wrap="square" anchor="t">
            <a:normAutofit/>
          </a:bodyPr>
          <a:lstStyle/>
          <a:p>
            <a:pPr algn="ctr"/>
            <a:r>
              <a:rPr lang="en-US"/>
              <a:t>Subscriptions</a:t>
            </a:r>
          </a:p>
        </p:txBody>
      </p:sp>
      <p:sp>
        <p:nvSpPr>
          <p:cNvPr id="15" name="Content Placeholder 2">
            <a:extLst>
              <a:ext uri="{FF2B5EF4-FFF2-40B4-BE49-F238E27FC236}">
                <a16:creationId xmlns:a16="http://schemas.microsoft.com/office/drawing/2014/main" id="{1E566100-ADBB-4258-8EC3-23BBEEC9793D}"/>
              </a:ext>
            </a:extLst>
          </p:cNvPr>
          <p:cNvSpPr>
            <a:spLocks noGrp="1"/>
          </p:cNvSpPr>
          <p:nvPr>
            <p:ph sz="quarter" idx="12"/>
          </p:nvPr>
        </p:nvSpPr>
        <p:spPr>
          <a:xfrm>
            <a:off x="582612" y="1966611"/>
            <a:ext cx="5211763" cy="3381599"/>
          </a:xfrm>
        </p:spPr>
        <p:txBody>
          <a:bodyPr wrap="square">
            <a:normAutofit/>
          </a:bodyPr>
          <a:lstStyle/>
          <a:p>
            <a:r>
              <a:rPr lang="en-US" sz="2000" spc="-50">
                <a:ln w="3175">
                  <a:noFill/>
                </a:ln>
                <a:latin typeface="+mj-lt"/>
              </a:rPr>
              <a:t>Unit of management, billing and scale within Azure</a:t>
            </a:r>
          </a:p>
          <a:p>
            <a:r>
              <a:rPr lang="en-US" sz="2000" spc="-50">
                <a:ln w="3175">
                  <a:noFill/>
                </a:ln>
                <a:latin typeface="+mj-lt"/>
              </a:rPr>
              <a:t>Boundary for Policy, governance and isolation</a:t>
            </a:r>
          </a:p>
          <a:p>
            <a:r>
              <a:rPr lang="en-US" sz="2000" spc="-50">
                <a:ln w="3175">
                  <a:noFill/>
                </a:ln>
                <a:latin typeface="+mj-lt"/>
              </a:rPr>
              <a:t>Houses resource groups and Azure resources</a:t>
            </a:r>
          </a:p>
          <a:p>
            <a:r>
              <a:rPr lang="en-US" sz="2000" spc="-50">
                <a:ln w="3175">
                  <a:noFill/>
                </a:ln>
                <a:latin typeface="+mj-lt"/>
              </a:rPr>
              <a:t>Resource providers determine which Azure services are available</a:t>
            </a:r>
          </a:p>
          <a:p>
            <a:endParaRPr lang="en-US" sz="2000" spc="-50">
              <a:ln w="3175">
                <a:noFill/>
              </a:ln>
              <a:latin typeface="+mj-lt"/>
            </a:endParaRPr>
          </a:p>
          <a:p>
            <a:endParaRPr lang="en-US" sz="2000" spc="-50">
              <a:ln w="3175">
                <a:noFill/>
              </a:ln>
              <a:latin typeface="+mj-lt"/>
            </a:endParaRPr>
          </a:p>
          <a:p>
            <a:endParaRPr lang="en-US"/>
          </a:p>
        </p:txBody>
      </p:sp>
      <p:pic>
        <p:nvPicPr>
          <p:cNvPr id="3" name="Picture 2" descr="Diagram&#10;&#10;Description automatically generated">
            <a:extLst>
              <a:ext uri="{FF2B5EF4-FFF2-40B4-BE49-F238E27FC236}">
                <a16:creationId xmlns:a16="http://schemas.microsoft.com/office/drawing/2014/main" id="{A4FDBDA7-7FD7-42CB-BFB8-010417A992F4}"/>
              </a:ext>
            </a:extLst>
          </p:cNvPr>
          <p:cNvPicPr>
            <a:picLocks noChangeAspect="1"/>
          </p:cNvPicPr>
          <p:nvPr/>
        </p:nvPicPr>
        <p:blipFill>
          <a:blip r:embed="rId3"/>
          <a:stretch>
            <a:fillRect/>
          </a:stretch>
        </p:blipFill>
        <p:spPr>
          <a:xfrm>
            <a:off x="6389688" y="1966611"/>
            <a:ext cx="5219700" cy="298827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5" name="Straight Connector 4">
            <a:extLst>
              <a:ext uri="{FF2B5EF4-FFF2-40B4-BE49-F238E27FC236}">
                <a16:creationId xmlns:a16="http://schemas.microsoft.com/office/drawing/2014/main" id="{8F26159E-C143-4754-81F9-D4DBECA0FF6A}"/>
              </a:ext>
            </a:extLst>
          </p:cNvPr>
          <p:cNvCxnSpPr/>
          <p:nvPr/>
        </p:nvCxnSpPr>
        <p:spPr>
          <a:xfrm>
            <a:off x="0" y="939660"/>
            <a:ext cx="1219200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7736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xEl>
                                              <p:pRg st="3" end="3"/>
                                            </p:txEl>
                                          </p:spTgt>
                                        </p:tgtEl>
                                        <p:attrNameLst>
                                          <p:attrName>style.visibility</p:attrName>
                                        </p:attrNameLst>
                                      </p:cBhvr>
                                      <p:to>
                                        <p:strVal val="visible"/>
                                      </p:to>
                                    </p:set>
                                    <p:animEffect transition="in" filter="fade">
                                      <p:cBhvr>
                                        <p:cTn id="22" dur="500"/>
                                        <p:tgtEl>
                                          <p:spTgt spid="1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2.xml><?xml version="1.0" encoding="utf-8"?>
<a:theme xmlns:a="http://schemas.openxmlformats.org/drawingml/2006/main" name="1_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Custom 1">
      <a:majorFont>
        <a:latin typeface="Segoe UI"/>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February_2019" id="{0D93EA38-B0C4-4B20-BF67-413A307B6C0B}" vid="{C7413A89-757E-4CA6-A51B-57D9E2B4132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699d430c-6e43-4b28-baa8-7a4915450eae">
      <UserInfo>
        <DisplayName>Prashant Nayak</DisplayName>
        <AccountId>277</AccountId>
        <AccountType/>
      </UserInfo>
      <UserInfo>
        <DisplayName>Arvind Periyasamy</DisplayName>
        <AccountId>6433</AccountId>
        <AccountType/>
      </UserInfo>
      <UserInfo>
        <DisplayName>Madhu Desarapu</DisplayName>
        <AccountId>3793</AccountId>
        <AccountType/>
      </UserInfo>
    </SharedWithUsers>
    <lcf76f155ced4ddcb4097134ff3c332f xmlns="1228c36f-9d6f-4125-ae22-1ffffa1c98f6">
      <Terms xmlns="http://schemas.microsoft.com/office/infopath/2007/PartnerControls"/>
    </lcf76f155ced4ddcb4097134ff3c332f>
    <TaxCatchAll xmlns="230e9df3-be65-4c73-a93b-d1236ebd677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11FBD58D245E6408F45CA06DE2AE5AC" ma:contentTypeVersion="15" ma:contentTypeDescription="Create a new document." ma:contentTypeScope="" ma:versionID="521d41ec151f7a372e6b43ac399893a7">
  <xsd:schema xmlns:xsd="http://www.w3.org/2001/XMLSchema" xmlns:xs="http://www.w3.org/2001/XMLSchema" xmlns:p="http://schemas.microsoft.com/office/2006/metadata/properties" xmlns:ns2="1228c36f-9d6f-4125-ae22-1ffffa1c98f6" xmlns:ns3="699d430c-6e43-4b28-baa8-7a4915450eae" xmlns:ns4="230e9df3-be65-4c73-a93b-d1236ebd677e" targetNamespace="http://schemas.microsoft.com/office/2006/metadata/properties" ma:root="true" ma:fieldsID="2774c087313368ce25236082e12d9cbe" ns2:_="" ns3:_="" ns4:_="">
    <xsd:import namespace="1228c36f-9d6f-4125-ae22-1ffffa1c98f6"/>
    <xsd:import namespace="699d430c-6e43-4b28-baa8-7a4915450eae"/>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LengthInSeconds" minOccurs="0"/>
                <xsd:element ref="ns2:MediaServiceDateTaken"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28c36f-9d6f-4125-ae22-1ffffa1c98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MediaServiceDateTaken" ma:index="18"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99d430c-6e43-4b28-baa8-7a4915450eae"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1b98d24b-6943-40c8-af2d-ddb2eea5ca9f}" ma:internalName="TaxCatchAll" ma:showField="CatchAllData" ma:web="699d430c-6e43-4b28-baa8-7a4915450e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1228c36f-9d6f-4125-ae22-1ffffa1c98f6"/>
    <ds:schemaRef ds:uri="230e9df3-be65-4c73-a93b-d1236ebd677e"/>
    <ds:schemaRef ds:uri="699d430c-6e43-4b28-baa8-7a4915450ea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234D3381-0501-4029-8886-1463088DEA24}">
  <ds:schemaRefs>
    <ds:schemaRef ds:uri="1228c36f-9d6f-4125-ae22-1ffffa1c98f6"/>
    <ds:schemaRef ds:uri="230e9df3-be65-4c73-a93b-d1236ebd677e"/>
    <ds:schemaRef ds:uri="699d430c-6e43-4b28-baa8-7a4915450ea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Template Starter Blue - April 2019_by Spur group</Template>
  <TotalTime>0</TotalTime>
  <Words>2726</Words>
  <Application>Microsoft Office PowerPoint</Application>
  <PresentationFormat>Widescreen</PresentationFormat>
  <Paragraphs>300</Paragraphs>
  <Slides>27</Slides>
  <Notes>2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6" baseType="lpstr">
      <vt:lpstr>Arial</vt:lpstr>
      <vt:lpstr>Calibri</vt:lpstr>
      <vt:lpstr>Consolas</vt:lpstr>
      <vt:lpstr>Segoe UI</vt:lpstr>
      <vt:lpstr>Segoe UI Semibold</vt:lpstr>
      <vt:lpstr>Wingdings</vt:lpstr>
      <vt:lpstr>3_ Microsoft_Learn_Black_Template</vt:lpstr>
      <vt:lpstr>1_Black Template</vt:lpstr>
      <vt:lpstr>think-cell Slide</vt:lpstr>
      <vt:lpstr>Management Group and Subscription Organization</vt:lpstr>
      <vt:lpstr>Agenda</vt:lpstr>
      <vt:lpstr>PowerPoint Presentation</vt:lpstr>
      <vt:lpstr>Azure landing zone conceptual architecture</vt:lpstr>
      <vt:lpstr>PowerPoint Presentation</vt:lpstr>
      <vt:lpstr>Enterprise Agreement</vt:lpstr>
      <vt:lpstr>Microsoft Enrolment and Azure AD Tenants </vt:lpstr>
      <vt:lpstr>PowerPoint Presentation</vt:lpstr>
      <vt:lpstr>Subscriptions</vt:lpstr>
      <vt:lpstr>Subscription Design Considerations</vt:lpstr>
      <vt:lpstr>Why use management groups?</vt:lpstr>
      <vt:lpstr>Management Group Limits</vt:lpstr>
      <vt:lpstr>Management group access</vt:lpstr>
      <vt:lpstr>PowerPoint Presentation</vt:lpstr>
      <vt:lpstr>Enterprise Scale Management Group Hierarchy</vt:lpstr>
      <vt:lpstr>Hierarchy Design Recommendations</vt:lpstr>
      <vt:lpstr>PowerPoint Presentation</vt:lpstr>
      <vt:lpstr>PowerPoint Presentation</vt:lpstr>
      <vt:lpstr>Quota and Capacity</vt:lpstr>
      <vt:lpstr>PowerPoint Presentation</vt:lpstr>
      <vt:lpstr>Enterprise Scale Landing Zones</vt:lpstr>
      <vt:lpstr>ESLZ for 50 Workloads</vt:lpstr>
      <vt:lpstr>PowerPoint Presentation</vt:lpstr>
      <vt:lpstr>ESLZ for 200 Workloads</vt:lpstr>
      <vt:lpstr>ESLZ for 10000 Workloads</vt:lpstr>
      <vt:lpstr>Summary</vt:lpstr>
      <vt:lpstr>Thank you!</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gt;</dc:subject>
  <dc:creator>Mark Stluka</dc:creator>
  <cp:keywords/>
  <dc:description/>
  <cp:lastModifiedBy>Jonathan Vella</cp:lastModifiedBy>
  <cp:revision>2</cp:revision>
  <dcterms:created xsi:type="dcterms:W3CDTF">2020-05-21T18:16:25Z</dcterms:created>
  <dcterms:modified xsi:type="dcterms:W3CDTF">2022-03-29T10:5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1FBD58D245E6408F45CA06DE2AE5A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MediaServiceImageTags">
    <vt:lpwstr/>
  </property>
</Properties>
</file>